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440" r:id="rId5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hink-cell module 1 - Test your knowledge" id="{88DB55FC-9947-1D48-8034-D761CCF7B562}">
          <p14:sldIdLst>
            <p14:sldId id="44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528701"/>
    <a:srgbClr val="A3A2A2"/>
    <a:srgbClr val="0A0A0A"/>
    <a:srgbClr val="C52536"/>
    <a:srgbClr val="C0C0C0"/>
    <a:srgbClr val="444444"/>
    <a:srgbClr val="DCDFE5"/>
    <a:srgbClr val="030303"/>
    <a:srgbClr val="000103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437"/>
    <p:restoredTop sz="82585"/>
  </p:normalViewPr>
  <p:slideViewPr>
    <p:cSldViewPr snapToGrid="0">
      <p:cViewPr varScale="1">
        <p:scale>
          <a:sx n="105" d="100"/>
          <a:sy n="105" d="100"/>
        </p:scale>
        <p:origin x="1640" y="176"/>
      </p:cViewPr>
      <p:guideLst/>
    </p:cSldViewPr>
  </p:slideViewPr>
  <p:outlineViewPr>
    <p:cViewPr>
      <p:scale>
        <a:sx n="33" d="100"/>
        <a:sy n="33" d="100"/>
      </p:scale>
      <p:origin x="0" y="-2172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94" d="100"/>
          <a:sy n="94" d="100"/>
        </p:scale>
        <p:origin x="3360" y="2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9022379269729095E-2"/>
          <c:y val="3.0405405405405407E-2"/>
          <c:w val="0.87750294464075385"/>
          <c:h val="0.88100600600600598"/>
        </c:manualLayout>
      </c:layout>
      <c:scatterChart>
        <c:scatterStyle val="lineMarker"/>
        <c:varyColors val="0"/>
        <c:ser>
          <c:idx val="0"/>
          <c:order val="0"/>
          <c:spPr>
            <a:ln w="19050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</c:numCache>
            </c:numRef>
          </c:xVal>
          <c:yVal>
            <c:numRef>
              <c:f>Sheet1!$A$2:$J$2</c:f>
              <c:numCache>
                <c:formatCode>General</c:formatCode>
                <c:ptCount val="10"/>
                <c:pt idx="0">
                  <c:v>22.5</c:v>
                </c:pt>
                <c:pt idx="1">
                  <c:v>21.876100539999999</c:v>
                </c:pt>
                <c:pt idx="2">
                  <c:v>21.844100950000001</c:v>
                </c:pt>
                <c:pt idx="3">
                  <c:v>22.1692009</c:v>
                </c:pt>
                <c:pt idx="4">
                  <c:v>22.398000719999999</c:v>
                </c:pt>
                <c:pt idx="5">
                  <c:v>22.41679955</c:v>
                </c:pt>
                <c:pt idx="6">
                  <c:v>22.642200469999999</c:v>
                </c:pt>
                <c:pt idx="7">
                  <c:v>22.333000179999999</c:v>
                </c:pt>
                <c:pt idx="8">
                  <c:v>22.769899370000001</c:v>
                </c:pt>
                <c:pt idx="9">
                  <c:v>22.1828994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6416-A948-BD7A-187FF1F8FFBC}"/>
            </c:ext>
          </c:extLst>
        </c:ser>
        <c:ser>
          <c:idx val="1"/>
          <c:order val="1"/>
          <c:spPr>
            <a:ln w="19050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</c:numCache>
            </c:numRef>
          </c:xVal>
          <c:yVal>
            <c:numRef>
              <c:f>Sheet1!$A$3:$J$3</c:f>
              <c:numCache>
                <c:formatCode>General</c:formatCode>
                <c:ptCount val="10"/>
                <c:pt idx="0">
                  <c:v>9.1691999440000007</c:v>
                </c:pt>
                <c:pt idx="1">
                  <c:v>9.3606996539999994</c:v>
                </c:pt>
                <c:pt idx="2">
                  <c:v>9.0670003890000004</c:v>
                </c:pt>
                <c:pt idx="3">
                  <c:v>8.9654998779999993</c:v>
                </c:pt>
                <c:pt idx="4">
                  <c:v>9.2320995329999995</c:v>
                </c:pt>
                <c:pt idx="5">
                  <c:v>9.7589998250000001</c:v>
                </c:pt>
                <c:pt idx="6">
                  <c:v>9.1933002469999998</c:v>
                </c:pt>
                <c:pt idx="7">
                  <c:v>9.220100403</c:v>
                </c:pt>
                <c:pt idx="8">
                  <c:v>9.5375995640000006</c:v>
                </c:pt>
                <c:pt idx="9">
                  <c:v>9.625300406999999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6416-A948-BD7A-187FF1F8FFBC}"/>
            </c:ext>
          </c:extLst>
        </c:ser>
        <c:ser>
          <c:idx val="2"/>
          <c:order val="2"/>
          <c:spPr>
            <a:ln w="19050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xVal>
            <c:numRef>
              <c:f>Sheet1!$A$1:$J$1</c:f>
              <c:numCache>
                <c:formatCode>General</c:formatCode>
                <c:ptCount val="10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</c:numCache>
            </c:numRef>
          </c:xVal>
          <c:yVal>
            <c:numRef>
              <c:f>Sheet1!$A$4:$J$4</c:f>
              <c:numCache>
                <c:formatCode>General</c:formatCode>
                <c:ptCount val="10"/>
                <c:pt idx="0">
                  <c:v>7.3544001579999998</c:v>
                </c:pt>
                <c:pt idx="1">
                  <c:v>7.4356999400000001</c:v>
                </c:pt>
                <c:pt idx="2">
                  <c:v>8.3641996380000005</c:v>
                </c:pt>
                <c:pt idx="3">
                  <c:v>8.7280998230000009</c:v>
                </c:pt>
                <c:pt idx="4">
                  <c:v>9.0832996369999996</c:v>
                </c:pt>
                <c:pt idx="5">
                  <c:v>9.2204999920000006</c:v>
                </c:pt>
                <c:pt idx="6">
                  <c:v>9.0339002609999994</c:v>
                </c:pt>
                <c:pt idx="7">
                  <c:v>9.4562997820000003</c:v>
                </c:pt>
                <c:pt idx="8">
                  <c:v>9.9190998080000004</c:v>
                </c:pt>
                <c:pt idx="9">
                  <c:v>10.1071996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6416-A948-BD7A-187FF1F8FF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11659471"/>
        <c:axId val="1"/>
      </c:scatterChart>
      <c:valAx>
        <c:axId val="1011659471"/>
        <c:scaling>
          <c:orientation val="minMax"/>
          <c:max val="2018"/>
          <c:min val="2009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min"/>
        <c:crossBetween val="midCat"/>
        <c:majorUnit val="1"/>
      </c:valAx>
      <c:valAx>
        <c:axId val="1"/>
        <c:scaling>
          <c:orientation val="minMax"/>
          <c:max val="2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11659471"/>
        <c:crosses val="min"/>
        <c:crossBetween val="midCat"/>
        <c:majorUnit val="2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F74075F-2862-789E-43C4-B2A6A886CBE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125F604-637F-C933-C73A-69D5AA287AB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625D2B-D275-4648-AEB6-9EB198A3407E}" type="datetimeFigureOut">
              <a:rPr lang="en-US" smtClean="0"/>
              <a:t>5/20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546D178-4062-0B81-30E6-CB1C4390A63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9B8552-FB54-E1D1-363E-7EAFB313AFB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852DA6-AAF0-4AA8-A622-740A307234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45040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E9E4C6-5ECD-4E08-9528-5F0B079507FD}" type="datetimeFigureOut">
              <a:rPr lang="en-US" smtClean="0"/>
              <a:t>5/20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CB43E47-B0A1-440F-A7D7-246B188E93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99255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cales, data data integrity, chart junk, data density, data richness, attributio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B43E47-B0A1-440F-A7D7-246B188E931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64688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6" Type="http://schemas.openxmlformats.org/officeDocument/2006/relationships/image" Target="../media/image4.jpeg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8.jpeg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5.jpeg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8426928-B814-9B0C-3004-18575D1EBB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8580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8426928-B814-9B0C-3004-18575D1EBB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Financial graphs on a dark display">
            <a:extLst>
              <a:ext uri="{FF2B5EF4-FFF2-40B4-BE49-F238E27FC236}">
                <a16:creationId xmlns:a16="http://schemas.microsoft.com/office/drawing/2014/main" id="{F89D0516-22C1-9762-94F2-3CA5DB2F3D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17" r="775"/>
          <a:stretch/>
        </p:blipFill>
        <p:spPr>
          <a:xfrm>
            <a:off x="0" y="0"/>
            <a:ext cx="9042400" cy="6096000"/>
          </a:xfrm>
          <a:prstGeom prst="rect">
            <a:avLst/>
          </a:prstGeom>
        </p:spPr>
      </p:pic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8B0EC855-A602-043A-E001-3D8D38F0C6CA}"/>
              </a:ext>
            </a:extLst>
          </p:cNvPr>
          <p:cNvCxnSpPr/>
          <p:nvPr userDrawn="1"/>
        </p:nvCxnSpPr>
        <p:spPr>
          <a:xfrm>
            <a:off x="-635651" y="0"/>
            <a:ext cx="0" cy="6029325"/>
          </a:xfrm>
          <a:prstGeom prst="line">
            <a:avLst/>
          </a:prstGeom>
          <a:ln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5B9EC6B1-8B9D-1C7C-9E00-D629524FDBF6}"/>
              </a:ext>
            </a:extLst>
          </p:cNvPr>
          <p:cNvCxnSpPr/>
          <p:nvPr userDrawn="1"/>
        </p:nvCxnSpPr>
        <p:spPr>
          <a:xfrm>
            <a:off x="-52664" y="0"/>
            <a:ext cx="0" cy="6029325"/>
          </a:xfrm>
          <a:prstGeom prst="line">
            <a:avLst/>
          </a:prstGeom>
          <a:ln>
            <a:solidFill>
              <a:schemeClr val="bg1">
                <a:alpha val="12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5" name="Picture 184">
            <a:extLst>
              <a:ext uri="{FF2B5EF4-FFF2-40B4-BE49-F238E27FC236}">
                <a16:creationId xmlns:a16="http://schemas.microsoft.com/office/drawing/2014/main" id="{B328C01B-EF80-01E9-AE18-4F925708AE5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0322" y="6320190"/>
            <a:ext cx="1488376" cy="345369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E468795-3CD7-AFB2-7045-1CFAAE244169}"/>
              </a:ext>
            </a:extLst>
          </p:cNvPr>
          <p:cNvSpPr/>
          <p:nvPr userDrawn="1"/>
        </p:nvSpPr>
        <p:spPr>
          <a:xfrm>
            <a:off x="9042400" y="0"/>
            <a:ext cx="3149600" cy="6096000"/>
          </a:xfrm>
          <a:prstGeom prst="rect">
            <a:avLst/>
          </a:prstGeom>
          <a:solidFill>
            <a:srgbClr val="A3A2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3" name="Freeform: Shape 102">
            <a:extLst>
              <a:ext uri="{FF2B5EF4-FFF2-40B4-BE49-F238E27FC236}">
                <a16:creationId xmlns:a16="http://schemas.microsoft.com/office/drawing/2014/main" id="{19CAD1A5-9E07-E722-F6D5-6DC532AFB851}"/>
              </a:ext>
            </a:extLst>
          </p:cNvPr>
          <p:cNvSpPr/>
          <p:nvPr userDrawn="1"/>
        </p:nvSpPr>
        <p:spPr>
          <a:xfrm rot="5400000" flipV="1">
            <a:off x="707004" y="4703908"/>
            <a:ext cx="685088" cy="2099096"/>
          </a:xfrm>
          <a:custGeom>
            <a:avLst/>
            <a:gdLst>
              <a:gd name="connsiteX0" fmla="*/ 685088 w 685088"/>
              <a:gd name="connsiteY0" fmla="*/ 0 h 2099096"/>
              <a:gd name="connsiteX1" fmla="*/ 685088 w 685088"/>
              <a:gd name="connsiteY1" fmla="*/ 234785 h 2099096"/>
              <a:gd name="connsiteX2" fmla="*/ 685088 w 685088"/>
              <a:gd name="connsiteY2" fmla="*/ 717550 h 2099096"/>
              <a:gd name="connsiteX3" fmla="*/ 685088 w 685088"/>
              <a:gd name="connsiteY3" fmla="*/ 2099096 h 2099096"/>
              <a:gd name="connsiteX4" fmla="*/ 0 w 685088"/>
              <a:gd name="connsiteY4" fmla="*/ 1397595 h 2099096"/>
              <a:gd name="connsiteX5" fmla="*/ 0 w 685088"/>
              <a:gd name="connsiteY5" fmla="*/ 0 h 2099096"/>
              <a:gd name="connsiteX6" fmla="*/ 323138 w 685088"/>
              <a:gd name="connsiteY6" fmla="*/ 0 h 2099096"/>
              <a:gd name="connsiteX7" fmla="*/ 450302 w 685088"/>
              <a:gd name="connsiteY7" fmla="*/ 0 h 2099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088" h="2099096">
                <a:moveTo>
                  <a:pt x="685088" y="0"/>
                </a:moveTo>
                <a:lnTo>
                  <a:pt x="685088" y="234785"/>
                </a:lnTo>
                <a:lnTo>
                  <a:pt x="685088" y="717550"/>
                </a:lnTo>
                <a:lnTo>
                  <a:pt x="685088" y="2099096"/>
                </a:lnTo>
                <a:lnTo>
                  <a:pt x="0" y="1397595"/>
                </a:lnTo>
                <a:lnTo>
                  <a:pt x="0" y="0"/>
                </a:lnTo>
                <a:lnTo>
                  <a:pt x="323138" y="0"/>
                </a:lnTo>
                <a:lnTo>
                  <a:pt x="450302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sp>
        <p:nvSpPr>
          <p:cNvPr id="116" name="Subtitle 2">
            <a:extLst>
              <a:ext uri="{FF2B5EF4-FFF2-40B4-BE49-F238E27FC236}">
                <a16:creationId xmlns:a16="http://schemas.microsoft.com/office/drawing/2014/main" id="{2AA77A88-2555-6FD4-37EC-96AA90E1C0E4}"/>
              </a:ext>
            </a:extLst>
          </p:cNvPr>
          <p:cNvSpPr txBox="1">
            <a:spLocks/>
          </p:cNvSpPr>
          <p:nvPr userDrawn="1"/>
        </p:nvSpPr>
        <p:spPr>
          <a:xfrm>
            <a:off x="7096126" y="193423"/>
            <a:ext cx="2221762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r>
              <a:rPr lang="en-US" sz="1000" baseline="0">
                <a:solidFill>
                  <a:schemeClr val="bg1"/>
                </a:solidFill>
              </a:rPr>
              <a:t>© 2002-2022 think-cell Software GmbH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A266873-A1DE-88F3-6E5C-42A632B6E35F}"/>
              </a:ext>
            </a:extLst>
          </p:cNvPr>
          <p:cNvSpPr/>
          <p:nvPr userDrawn="1"/>
        </p:nvSpPr>
        <p:spPr>
          <a:xfrm>
            <a:off x="6667500" y="939800"/>
            <a:ext cx="5143501" cy="4546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5D9E91-A76C-876B-649B-17F95C4510A5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7096126" y="2054318"/>
            <a:ext cx="4443064" cy="1846659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40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Sales Presentation and Board Deck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B520037-983E-8B35-8533-DBB6BD595C63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7096126" y="4027569"/>
            <a:ext cx="4443064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of the presentation or presenter name and title</a:t>
            </a:r>
          </a:p>
        </p:txBody>
      </p:sp>
      <p:sp>
        <p:nvSpPr>
          <p:cNvPr id="153" name="Text Placeholder 152">
            <a:extLst>
              <a:ext uri="{FF2B5EF4-FFF2-40B4-BE49-F238E27FC236}">
                <a16:creationId xmlns:a16="http://schemas.microsoft.com/office/drawing/2014/main" id="{2B079A6C-17E3-A91D-A967-48650CD7861C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926610" y="4901824"/>
            <a:ext cx="4613178" cy="1938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D-MM-YY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145E31BE-B231-93D9-7129-86C1E0ACADE6}"/>
              </a:ext>
            </a:extLst>
          </p:cNvPr>
          <p:cNvCxnSpPr>
            <a:cxnSpLocks/>
          </p:cNvCxnSpPr>
          <p:nvPr userDrawn="1"/>
        </p:nvCxnSpPr>
        <p:spPr>
          <a:xfrm>
            <a:off x="6926012" y="4728749"/>
            <a:ext cx="461317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Freeform: Shape 108">
            <a:extLst>
              <a:ext uri="{FF2B5EF4-FFF2-40B4-BE49-F238E27FC236}">
                <a16:creationId xmlns:a16="http://schemas.microsoft.com/office/drawing/2014/main" id="{C78FB85E-C233-23CE-6991-27B19BF8BAA9}"/>
              </a:ext>
            </a:extLst>
          </p:cNvPr>
          <p:cNvSpPr/>
          <p:nvPr userDrawn="1"/>
        </p:nvSpPr>
        <p:spPr>
          <a:xfrm rot="16200000" flipH="1" flipV="1">
            <a:off x="11365197" y="4554756"/>
            <a:ext cx="85626" cy="262360"/>
          </a:xfrm>
          <a:custGeom>
            <a:avLst/>
            <a:gdLst>
              <a:gd name="connsiteX0" fmla="*/ 685088 w 685088"/>
              <a:gd name="connsiteY0" fmla="*/ 0 h 2099096"/>
              <a:gd name="connsiteX1" fmla="*/ 685088 w 685088"/>
              <a:gd name="connsiteY1" fmla="*/ 234785 h 2099096"/>
              <a:gd name="connsiteX2" fmla="*/ 685088 w 685088"/>
              <a:gd name="connsiteY2" fmla="*/ 717550 h 2099096"/>
              <a:gd name="connsiteX3" fmla="*/ 685088 w 685088"/>
              <a:gd name="connsiteY3" fmla="*/ 2099096 h 2099096"/>
              <a:gd name="connsiteX4" fmla="*/ 0 w 685088"/>
              <a:gd name="connsiteY4" fmla="*/ 1397595 h 2099096"/>
              <a:gd name="connsiteX5" fmla="*/ 0 w 685088"/>
              <a:gd name="connsiteY5" fmla="*/ 0 h 2099096"/>
              <a:gd name="connsiteX6" fmla="*/ 323138 w 685088"/>
              <a:gd name="connsiteY6" fmla="*/ 0 h 2099096"/>
              <a:gd name="connsiteX7" fmla="*/ 450302 w 685088"/>
              <a:gd name="connsiteY7" fmla="*/ 0 h 2099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088" h="2099096">
                <a:moveTo>
                  <a:pt x="685088" y="0"/>
                </a:moveTo>
                <a:lnTo>
                  <a:pt x="685088" y="234785"/>
                </a:lnTo>
                <a:lnTo>
                  <a:pt x="685088" y="717550"/>
                </a:lnTo>
                <a:lnTo>
                  <a:pt x="685088" y="2099096"/>
                </a:lnTo>
                <a:lnTo>
                  <a:pt x="0" y="1397595"/>
                </a:lnTo>
                <a:lnTo>
                  <a:pt x="0" y="0"/>
                </a:lnTo>
                <a:lnTo>
                  <a:pt x="323138" y="0"/>
                </a:lnTo>
                <a:lnTo>
                  <a:pt x="450302" y="0"/>
                </a:lnTo>
                <a:close/>
              </a:path>
            </a:pathLst>
          </a:custGeom>
          <a:solidFill>
            <a:srgbClr val="DCDFE5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sp>
        <p:nvSpPr>
          <p:cNvPr id="113" name="Freeform: Shape 112">
            <a:extLst>
              <a:ext uri="{FF2B5EF4-FFF2-40B4-BE49-F238E27FC236}">
                <a16:creationId xmlns:a16="http://schemas.microsoft.com/office/drawing/2014/main" id="{8481F1C8-047B-DBB8-D704-0D8E298ADF7E}"/>
              </a:ext>
            </a:extLst>
          </p:cNvPr>
          <p:cNvSpPr/>
          <p:nvPr userDrawn="1"/>
        </p:nvSpPr>
        <p:spPr>
          <a:xfrm flipH="1">
            <a:off x="6926012" y="1852612"/>
            <a:ext cx="85626" cy="262360"/>
          </a:xfrm>
          <a:custGeom>
            <a:avLst/>
            <a:gdLst>
              <a:gd name="connsiteX0" fmla="*/ 685088 w 685088"/>
              <a:gd name="connsiteY0" fmla="*/ 0 h 2099096"/>
              <a:gd name="connsiteX1" fmla="*/ 685088 w 685088"/>
              <a:gd name="connsiteY1" fmla="*/ 234785 h 2099096"/>
              <a:gd name="connsiteX2" fmla="*/ 685088 w 685088"/>
              <a:gd name="connsiteY2" fmla="*/ 717550 h 2099096"/>
              <a:gd name="connsiteX3" fmla="*/ 685088 w 685088"/>
              <a:gd name="connsiteY3" fmla="*/ 2099096 h 2099096"/>
              <a:gd name="connsiteX4" fmla="*/ 0 w 685088"/>
              <a:gd name="connsiteY4" fmla="*/ 1397595 h 2099096"/>
              <a:gd name="connsiteX5" fmla="*/ 0 w 685088"/>
              <a:gd name="connsiteY5" fmla="*/ 0 h 2099096"/>
              <a:gd name="connsiteX6" fmla="*/ 323138 w 685088"/>
              <a:gd name="connsiteY6" fmla="*/ 0 h 2099096"/>
              <a:gd name="connsiteX7" fmla="*/ 450302 w 685088"/>
              <a:gd name="connsiteY7" fmla="*/ 0 h 2099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088" h="2099096">
                <a:moveTo>
                  <a:pt x="685088" y="0"/>
                </a:moveTo>
                <a:lnTo>
                  <a:pt x="685088" y="234785"/>
                </a:lnTo>
                <a:lnTo>
                  <a:pt x="685088" y="717550"/>
                </a:lnTo>
                <a:lnTo>
                  <a:pt x="685088" y="2099096"/>
                </a:lnTo>
                <a:lnTo>
                  <a:pt x="0" y="1397595"/>
                </a:lnTo>
                <a:lnTo>
                  <a:pt x="0" y="0"/>
                </a:lnTo>
                <a:lnTo>
                  <a:pt x="323138" y="0"/>
                </a:lnTo>
                <a:lnTo>
                  <a:pt x="450302" y="0"/>
                </a:lnTo>
                <a:close/>
              </a:path>
            </a:pathLst>
          </a:custGeom>
          <a:solidFill>
            <a:srgbClr val="C52536"/>
          </a:solidFill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sp>
        <p:nvSpPr>
          <p:cNvPr id="194" name="Subtitle 2">
            <a:extLst>
              <a:ext uri="{FF2B5EF4-FFF2-40B4-BE49-F238E27FC236}">
                <a16:creationId xmlns:a16="http://schemas.microsoft.com/office/drawing/2014/main" id="{861201AD-B501-D41D-B031-E29A061FE13C}"/>
              </a:ext>
            </a:extLst>
          </p:cNvPr>
          <p:cNvSpPr txBox="1">
            <a:spLocks/>
          </p:cNvSpPr>
          <p:nvPr userDrawn="1"/>
        </p:nvSpPr>
        <p:spPr>
          <a:xfrm>
            <a:off x="7096126" y="417548"/>
            <a:ext cx="1441100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>
              <a:buNone/>
            </a:pPr>
            <a:r>
              <a:rPr lang="en-US" sz="1000" baseline="0">
                <a:solidFill>
                  <a:schemeClr val="bg1"/>
                </a:solidFill>
              </a:rPr>
              <a:t>STRICTLY CONFIDENTIA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BEC0F07-3914-7A3B-8B89-45F9346E7C63}"/>
              </a:ext>
            </a:extLst>
          </p:cNvPr>
          <p:cNvCxnSpPr>
            <a:cxnSpLocks/>
          </p:cNvCxnSpPr>
          <p:nvPr userDrawn="1"/>
        </p:nvCxnSpPr>
        <p:spPr>
          <a:xfrm>
            <a:off x="6926012" y="1847850"/>
            <a:ext cx="0" cy="2880899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82997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8043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0D379E16-62EE-6186-1DF8-82727D329FAA}"/>
              </a:ext>
            </a:extLst>
          </p:cNvPr>
          <p:cNvSpPr/>
          <p:nvPr userDrawn="1"/>
        </p:nvSpPr>
        <p:spPr>
          <a:xfrm>
            <a:off x="0" y="0"/>
            <a:ext cx="4064002" cy="65309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6" y="370734"/>
            <a:ext cx="3264569" cy="861774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9B2681D-5DBC-1811-EE32-418A551D8D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5" y="108070"/>
            <a:ext cx="1828800" cy="1523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27DECD3-BC54-EE3F-E5ED-C988EE15FD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76724" y="6321067"/>
            <a:ext cx="7512719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1176475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2509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0D379E16-62EE-6186-1DF8-82727D329FAA}"/>
              </a:ext>
            </a:extLst>
          </p:cNvPr>
          <p:cNvSpPr/>
          <p:nvPr userDrawn="1"/>
        </p:nvSpPr>
        <p:spPr>
          <a:xfrm>
            <a:off x="0" y="0"/>
            <a:ext cx="4064002" cy="65309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6" y="370734"/>
            <a:ext cx="3264569" cy="861774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9B2681D-5DBC-1811-EE32-418A551D8D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5" y="108070"/>
            <a:ext cx="1828800" cy="1523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27DECD3-BC54-EE3F-E5ED-C988EE15FD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76724" y="6321067"/>
            <a:ext cx="7512719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778F60BB-1205-AB3C-FBE0-946F02EB4649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559300" y="985520"/>
            <a:ext cx="7232650" cy="5195361"/>
          </a:xfrm>
          <a:prstGeom prst="rect">
            <a:avLst/>
          </a:prstGeom>
        </p:spPr>
        <p:txBody>
          <a:bodyPr/>
          <a:lstStyle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33767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1/3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5055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0D379E16-62EE-6186-1DF8-82727D329FAA}"/>
              </a:ext>
            </a:extLst>
          </p:cNvPr>
          <p:cNvSpPr/>
          <p:nvPr userDrawn="1"/>
        </p:nvSpPr>
        <p:spPr>
          <a:xfrm>
            <a:off x="8127998" y="0"/>
            <a:ext cx="4064002" cy="653023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6" y="370734"/>
            <a:ext cx="7446044" cy="43088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9B2681D-5DBC-1811-EE32-418A551D8D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6" y="108070"/>
            <a:ext cx="1828800" cy="152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0D06B56-9838-81B0-CD64-7E1A498188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2556" y="6321067"/>
            <a:ext cx="7446044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2093647-CF0C-F221-9FFB-38F12B514CF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74084" y="465112"/>
            <a:ext cx="1036913" cy="240609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8EDC22B-84FB-5D3F-C57A-598565A0FAC5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61848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/3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5898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0D379E16-62EE-6186-1DF8-82727D329FAA}"/>
              </a:ext>
            </a:extLst>
          </p:cNvPr>
          <p:cNvSpPr/>
          <p:nvPr userDrawn="1"/>
        </p:nvSpPr>
        <p:spPr>
          <a:xfrm>
            <a:off x="8127998" y="0"/>
            <a:ext cx="4064002" cy="653023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6" y="370734"/>
            <a:ext cx="7446044" cy="43088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9B2681D-5DBC-1811-EE32-418A551D8D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6" y="108070"/>
            <a:ext cx="1828800" cy="152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0D06B56-9838-81B0-CD64-7E1A498188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2556" y="6321067"/>
            <a:ext cx="7446044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2093647-CF0C-F221-9FFB-38F12B514CF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74084" y="465112"/>
            <a:ext cx="1036913" cy="240609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8EDC22B-84FB-5D3F-C57A-598565A0FAC5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B9804E7-B7F1-B38C-2C1F-9F18B752A3F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02556" y="1384300"/>
            <a:ext cx="7232650" cy="4774724"/>
          </a:xfrm>
          <a:prstGeom prst="rect">
            <a:avLst/>
          </a:prstGeom>
        </p:spPr>
        <p:txBody>
          <a:bodyPr/>
          <a:lstStyle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934326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1/2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7209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0D379E16-62EE-6186-1DF8-82727D329FAA}"/>
              </a:ext>
            </a:extLst>
          </p:cNvPr>
          <p:cNvSpPr/>
          <p:nvPr userDrawn="1"/>
        </p:nvSpPr>
        <p:spPr>
          <a:xfrm>
            <a:off x="6096000" y="0"/>
            <a:ext cx="6096000" cy="652780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6" y="370734"/>
            <a:ext cx="5394562" cy="43088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9B2681D-5DBC-1811-EE32-418A551D8D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6" y="108070"/>
            <a:ext cx="1828800" cy="152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1787B8A0-5869-0BDB-E5B4-754F1C0777E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2556" y="6321067"/>
            <a:ext cx="5394562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16DA33D-EC56-D4D2-7575-4DCACF8ED7C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74084" y="465112"/>
            <a:ext cx="1036913" cy="240609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A79046C-F602-3FCD-273D-F9927512901F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66709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/2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7209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0D379E16-62EE-6186-1DF8-82727D329FAA}"/>
              </a:ext>
            </a:extLst>
          </p:cNvPr>
          <p:cNvSpPr/>
          <p:nvPr userDrawn="1"/>
        </p:nvSpPr>
        <p:spPr>
          <a:xfrm>
            <a:off x="6096000" y="0"/>
            <a:ext cx="6096000" cy="652780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6" y="370734"/>
            <a:ext cx="5394562" cy="43088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9B2681D-5DBC-1811-EE32-418A551D8D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6" y="108070"/>
            <a:ext cx="1828800" cy="152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1787B8A0-5869-0BDB-E5B4-754F1C0777E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2556" y="6321067"/>
            <a:ext cx="5394562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16DA33D-EC56-D4D2-7575-4DCACF8ED7C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74084" y="465112"/>
            <a:ext cx="1036913" cy="240609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A79046C-F602-3FCD-273D-F9927512901F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E92AD12B-0D05-AA79-6A70-BAA2F2F715B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02556" y="1384300"/>
            <a:ext cx="5394562" cy="4774724"/>
          </a:xfrm>
          <a:prstGeom prst="rect">
            <a:avLst/>
          </a:prstGeom>
        </p:spPr>
        <p:txBody>
          <a:bodyPr/>
          <a:lstStyle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191876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and 2/3 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542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CC0FA27F-5806-B944-B5FC-380ADA16BEE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128000" y="0"/>
            <a:ext cx="4064000" cy="6530228"/>
          </a:xfrm>
          <a:prstGeom prst="rect">
            <a:avLst/>
          </a:prstGeom>
          <a:solidFill>
            <a:srgbClr val="EAEAEA"/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600"/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6" y="370734"/>
            <a:ext cx="7446044" cy="43088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9B2681D-5DBC-1811-EE32-418A551D8D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6" y="108070"/>
            <a:ext cx="1828800" cy="152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752341DF-7700-FD77-6D8E-05781901843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2556" y="6321067"/>
            <a:ext cx="7446044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5471256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/3 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542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CC0FA27F-5806-B944-B5FC-380ADA16BEE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128000" y="0"/>
            <a:ext cx="4064000" cy="6530228"/>
          </a:xfrm>
          <a:prstGeom prst="rect">
            <a:avLst/>
          </a:prstGeom>
          <a:solidFill>
            <a:srgbClr val="EAEAEA"/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600"/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6" y="370734"/>
            <a:ext cx="7446044" cy="43088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9B2681D-5DBC-1811-EE32-418A551D8D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6" y="108070"/>
            <a:ext cx="1828800" cy="152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752341DF-7700-FD77-6D8E-05781901843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2556" y="6321067"/>
            <a:ext cx="7446044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97AB7BB6-D50E-3E2A-3E5A-8449F7D14A0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02556" y="1384300"/>
            <a:ext cx="7232650" cy="4774724"/>
          </a:xfrm>
          <a:prstGeom prst="rect">
            <a:avLst/>
          </a:prstGeom>
        </p:spPr>
        <p:txBody>
          <a:bodyPr/>
          <a:lstStyle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38632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/3 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7793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CC0FA27F-5806-B944-B5FC-380ADA16BEE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64001" y="0"/>
            <a:ext cx="8127999" cy="6529388"/>
          </a:xfrm>
          <a:prstGeom prst="rect">
            <a:avLst/>
          </a:prstGeom>
          <a:solidFill>
            <a:srgbClr val="EAEAEA"/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600"/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6" y="370734"/>
            <a:ext cx="3113001" cy="861774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9B2681D-5DBC-1811-EE32-418A551D8D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6" y="108070"/>
            <a:ext cx="1828800" cy="152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</p:spTree>
    <p:extLst>
      <p:ext uri="{BB962C8B-B14F-4D97-AF65-F5344CB8AC3E}">
        <p14:creationId xmlns:p14="http://schemas.microsoft.com/office/powerpoint/2010/main" val="8808599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4526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58309B60-F0F7-9E12-97CE-102A730E1422}"/>
              </a:ext>
            </a:extLst>
          </p:cNvPr>
          <p:cNvSpPr/>
          <p:nvPr userDrawn="1"/>
        </p:nvSpPr>
        <p:spPr>
          <a:xfrm>
            <a:off x="0" y="939800"/>
            <a:ext cx="12192000" cy="5918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C42A4A5-54CF-06F1-DCDE-C706BC257F48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phic 6">
            <a:extLst>
              <a:ext uri="{FF2B5EF4-FFF2-40B4-BE49-F238E27FC236}">
                <a16:creationId xmlns:a16="http://schemas.microsoft.com/office/drawing/2014/main" id="{FAD04D67-D663-FB4A-4471-BFCA32F84A9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1000" y="472399"/>
            <a:ext cx="1252286" cy="795102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298DD192-2EF0-F190-B910-7755CDF7CF6E}"/>
              </a:ext>
            </a:extLst>
          </p:cNvPr>
          <p:cNvSpPr/>
          <p:nvPr userDrawn="1"/>
        </p:nvSpPr>
        <p:spPr>
          <a:xfrm>
            <a:off x="0" y="6530230"/>
            <a:ext cx="5119084" cy="32777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it-IT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171DCBA8-4B14-DBBD-10EA-A2E8A1E16098}"/>
              </a:ext>
            </a:extLst>
          </p:cNvPr>
          <p:cNvSpPr/>
          <p:nvPr userDrawn="1"/>
        </p:nvSpPr>
        <p:spPr>
          <a:xfrm>
            <a:off x="2772540" y="6530230"/>
            <a:ext cx="9419459" cy="327771"/>
          </a:xfrm>
          <a:custGeom>
            <a:avLst/>
            <a:gdLst>
              <a:gd name="connsiteX0" fmla="*/ 332828 w 9419459"/>
              <a:gd name="connsiteY0" fmla="*/ 0 h 327771"/>
              <a:gd name="connsiteX1" fmla="*/ 9419459 w 9419459"/>
              <a:gd name="connsiteY1" fmla="*/ 0 h 327771"/>
              <a:gd name="connsiteX2" fmla="*/ 9419459 w 9419459"/>
              <a:gd name="connsiteY2" fmla="*/ 327770 h 327771"/>
              <a:gd name="connsiteX3" fmla="*/ 2315323 w 9419459"/>
              <a:gd name="connsiteY3" fmla="*/ 327770 h 327771"/>
              <a:gd name="connsiteX4" fmla="*/ 2315323 w 9419459"/>
              <a:gd name="connsiteY4" fmla="*/ 327771 h 327771"/>
              <a:gd name="connsiteX5" fmla="*/ 2056351 w 9419459"/>
              <a:gd name="connsiteY5" fmla="*/ 327771 h 327771"/>
              <a:gd name="connsiteX6" fmla="*/ 1523857 w 9419459"/>
              <a:gd name="connsiteY6" fmla="*/ 327771 h 327771"/>
              <a:gd name="connsiteX7" fmla="*/ 0 w 9419459"/>
              <a:gd name="connsiteY7" fmla="*/ 327771 h 327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419459" h="327771">
                <a:moveTo>
                  <a:pt x="332828" y="0"/>
                </a:moveTo>
                <a:lnTo>
                  <a:pt x="9419459" y="0"/>
                </a:lnTo>
                <a:lnTo>
                  <a:pt x="9419459" y="327770"/>
                </a:lnTo>
                <a:lnTo>
                  <a:pt x="2315323" y="327770"/>
                </a:lnTo>
                <a:lnTo>
                  <a:pt x="2315323" y="327771"/>
                </a:lnTo>
                <a:lnTo>
                  <a:pt x="2056351" y="327771"/>
                </a:lnTo>
                <a:lnTo>
                  <a:pt x="1523857" y="327771"/>
                </a:lnTo>
                <a:lnTo>
                  <a:pt x="0" y="327771"/>
                </a:lnTo>
                <a:close/>
              </a:path>
            </a:pathLst>
          </a:custGeom>
          <a:solidFill>
            <a:srgbClr val="C525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BB12F4BE-D51E-C5A5-A7D9-B48E13B995EF}"/>
              </a:ext>
            </a:extLst>
          </p:cNvPr>
          <p:cNvSpPr txBox="1">
            <a:spLocks/>
          </p:cNvSpPr>
          <p:nvPr userDrawn="1"/>
        </p:nvSpPr>
        <p:spPr>
          <a:xfrm>
            <a:off x="356959" y="6640393"/>
            <a:ext cx="2221762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rtl="0">
              <a:buNone/>
            </a:pPr>
            <a:r>
              <a:rPr lang="en-US" sz="1000" baseline="0">
                <a:solidFill>
                  <a:schemeClr val="tx1"/>
                </a:solidFill>
              </a:rPr>
              <a:t>© 2002-2022 think-cell Software GmbH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7411B871-0CFC-FECB-4437-AE0CF3309BA5}"/>
              </a:ext>
            </a:extLst>
          </p:cNvPr>
          <p:cNvSpPr/>
          <p:nvPr userDrawn="1"/>
        </p:nvSpPr>
        <p:spPr>
          <a:xfrm flipH="1">
            <a:off x="2935679" y="6530230"/>
            <a:ext cx="9256320" cy="327771"/>
          </a:xfrm>
          <a:custGeom>
            <a:avLst/>
            <a:gdLst>
              <a:gd name="connsiteX0" fmla="*/ 8923493 w 9256320"/>
              <a:gd name="connsiteY0" fmla="*/ 0 h 327771"/>
              <a:gd name="connsiteX1" fmla="*/ 0 w 9256320"/>
              <a:gd name="connsiteY1" fmla="*/ 0 h 327771"/>
              <a:gd name="connsiteX2" fmla="*/ 0 w 9256320"/>
              <a:gd name="connsiteY2" fmla="*/ 327770 h 327771"/>
              <a:gd name="connsiteX3" fmla="*/ 6940998 w 9256320"/>
              <a:gd name="connsiteY3" fmla="*/ 327770 h 327771"/>
              <a:gd name="connsiteX4" fmla="*/ 6940998 w 9256320"/>
              <a:gd name="connsiteY4" fmla="*/ 327771 h 327771"/>
              <a:gd name="connsiteX5" fmla="*/ 7199969 w 9256320"/>
              <a:gd name="connsiteY5" fmla="*/ 327771 h 327771"/>
              <a:gd name="connsiteX6" fmla="*/ 7732463 w 9256320"/>
              <a:gd name="connsiteY6" fmla="*/ 327771 h 327771"/>
              <a:gd name="connsiteX7" fmla="*/ 9256320 w 9256320"/>
              <a:gd name="connsiteY7" fmla="*/ 327771 h 327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256320" h="327771">
                <a:moveTo>
                  <a:pt x="8923493" y="0"/>
                </a:moveTo>
                <a:lnTo>
                  <a:pt x="0" y="0"/>
                </a:lnTo>
                <a:lnTo>
                  <a:pt x="0" y="327770"/>
                </a:lnTo>
                <a:lnTo>
                  <a:pt x="6940998" y="327770"/>
                </a:lnTo>
                <a:lnTo>
                  <a:pt x="6940998" y="327771"/>
                </a:lnTo>
                <a:lnTo>
                  <a:pt x="7199969" y="327771"/>
                </a:lnTo>
                <a:lnTo>
                  <a:pt x="7732463" y="327771"/>
                </a:lnTo>
                <a:lnTo>
                  <a:pt x="9256320" y="32777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it-IT"/>
          </a:p>
        </p:txBody>
      </p:sp>
      <p:sp>
        <p:nvSpPr>
          <p:cNvPr id="18" name="Slide Number Placeholder 6">
            <a:extLst>
              <a:ext uri="{FF2B5EF4-FFF2-40B4-BE49-F238E27FC236}">
                <a16:creationId xmlns:a16="http://schemas.microsoft.com/office/drawing/2014/main" id="{2DD7F770-A06A-9296-B340-EA29333A774C}"/>
              </a:ext>
            </a:extLst>
          </p:cNvPr>
          <p:cNvSpPr txBox="1">
            <a:spLocks/>
          </p:cNvSpPr>
          <p:nvPr userDrawn="1"/>
        </p:nvSpPr>
        <p:spPr>
          <a:xfrm>
            <a:off x="11413198" y="6617170"/>
            <a:ext cx="340494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DF24D05E-FF6A-42BC-8F81-B4FE03159EF9}" type="slidenum">
              <a:rPr lang="en-US" smtClean="0">
                <a:solidFill>
                  <a:schemeClr val="bg1"/>
                </a:solidFill>
              </a:rPr>
              <a:pPr algn="r"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0D22DF00-103D-9D25-16E4-02C3FC83E32D}"/>
              </a:ext>
            </a:extLst>
          </p:cNvPr>
          <p:cNvSpPr txBox="1">
            <a:spLocks/>
          </p:cNvSpPr>
          <p:nvPr userDrawn="1"/>
        </p:nvSpPr>
        <p:spPr>
          <a:xfrm>
            <a:off x="5557391" y="6640393"/>
            <a:ext cx="1077218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000" baseline="0">
                <a:solidFill>
                  <a:schemeClr val="bg1"/>
                </a:solidFill>
              </a:rPr>
              <a:t>Strictly confidentia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8B644A9-8B6F-EE52-03B7-60764EFAB7D8}"/>
              </a:ext>
            </a:extLst>
          </p:cNvPr>
          <p:cNvCxnSpPr>
            <a:cxnSpLocks/>
          </p:cNvCxnSpPr>
          <p:nvPr userDrawn="1"/>
        </p:nvCxnSpPr>
        <p:spPr>
          <a:xfrm flipH="1">
            <a:off x="7492999" y="5524500"/>
            <a:ext cx="4318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05D035C6-EDCE-8CF7-EBA1-C78ED3929EDE}"/>
              </a:ext>
            </a:extLst>
          </p:cNvPr>
          <p:cNvSpPr/>
          <p:nvPr userDrawn="1"/>
        </p:nvSpPr>
        <p:spPr>
          <a:xfrm rot="16200000" flipH="1" flipV="1">
            <a:off x="11637006" y="5350507"/>
            <a:ext cx="85626" cy="262360"/>
          </a:xfrm>
          <a:custGeom>
            <a:avLst/>
            <a:gdLst>
              <a:gd name="connsiteX0" fmla="*/ 685088 w 685088"/>
              <a:gd name="connsiteY0" fmla="*/ 0 h 2099096"/>
              <a:gd name="connsiteX1" fmla="*/ 685088 w 685088"/>
              <a:gd name="connsiteY1" fmla="*/ 234785 h 2099096"/>
              <a:gd name="connsiteX2" fmla="*/ 685088 w 685088"/>
              <a:gd name="connsiteY2" fmla="*/ 717550 h 2099096"/>
              <a:gd name="connsiteX3" fmla="*/ 685088 w 685088"/>
              <a:gd name="connsiteY3" fmla="*/ 2099096 h 2099096"/>
              <a:gd name="connsiteX4" fmla="*/ 0 w 685088"/>
              <a:gd name="connsiteY4" fmla="*/ 1397595 h 2099096"/>
              <a:gd name="connsiteX5" fmla="*/ 0 w 685088"/>
              <a:gd name="connsiteY5" fmla="*/ 0 h 2099096"/>
              <a:gd name="connsiteX6" fmla="*/ 323138 w 685088"/>
              <a:gd name="connsiteY6" fmla="*/ 0 h 2099096"/>
              <a:gd name="connsiteX7" fmla="*/ 450302 w 685088"/>
              <a:gd name="connsiteY7" fmla="*/ 0 h 2099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088" h="2099096">
                <a:moveTo>
                  <a:pt x="685088" y="0"/>
                </a:moveTo>
                <a:lnTo>
                  <a:pt x="685088" y="234785"/>
                </a:lnTo>
                <a:lnTo>
                  <a:pt x="685088" y="717550"/>
                </a:lnTo>
                <a:lnTo>
                  <a:pt x="685088" y="2099096"/>
                </a:lnTo>
                <a:lnTo>
                  <a:pt x="0" y="1397595"/>
                </a:lnTo>
                <a:lnTo>
                  <a:pt x="0" y="0"/>
                </a:lnTo>
                <a:lnTo>
                  <a:pt x="323138" y="0"/>
                </a:lnTo>
                <a:lnTo>
                  <a:pt x="450302" y="0"/>
                </a:lnTo>
                <a:close/>
              </a:path>
            </a:pathLst>
          </a:cu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A79AF6-1B90-1F0C-A765-EA30497A7B7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0322" y="1734902"/>
            <a:ext cx="5984778" cy="615553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Quote text goes her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5C1F9E5C-E95B-3F17-6949-673CC04461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92999" y="5684124"/>
            <a:ext cx="4318000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name</a:t>
            </a:r>
          </a:p>
        </p:txBody>
      </p:sp>
    </p:spTree>
    <p:extLst>
      <p:ext uri="{BB962C8B-B14F-4D97-AF65-F5344CB8AC3E}">
        <p14:creationId xmlns:p14="http://schemas.microsoft.com/office/powerpoint/2010/main" val="45648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8426928-B814-9B0C-3004-18575D1EBB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9138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8426928-B814-9B0C-3004-18575D1EBB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33313F87-FB1D-8BF2-A8C1-302060E6AE8C}"/>
              </a:ext>
            </a:extLst>
          </p:cNvPr>
          <p:cNvSpPr/>
          <p:nvPr userDrawn="1"/>
        </p:nvSpPr>
        <p:spPr>
          <a:xfrm>
            <a:off x="2224491" y="6095992"/>
            <a:ext cx="9946663" cy="762009"/>
          </a:xfrm>
          <a:custGeom>
            <a:avLst/>
            <a:gdLst>
              <a:gd name="connsiteX0" fmla="*/ 2275863 w 9946663"/>
              <a:gd name="connsiteY0" fmla="*/ 0 h 762009"/>
              <a:gd name="connsiteX1" fmla="*/ 9946663 w 9946663"/>
              <a:gd name="connsiteY1" fmla="*/ 0 h 762009"/>
              <a:gd name="connsiteX2" fmla="*/ 9946663 w 9946663"/>
              <a:gd name="connsiteY2" fmla="*/ 762008 h 762009"/>
              <a:gd name="connsiteX3" fmla="*/ 2315322 w 9946663"/>
              <a:gd name="connsiteY3" fmla="*/ 762008 h 762009"/>
              <a:gd name="connsiteX4" fmla="*/ 2315322 w 9946663"/>
              <a:gd name="connsiteY4" fmla="*/ 762009 h 762009"/>
              <a:gd name="connsiteX5" fmla="*/ 2056351 w 9946663"/>
              <a:gd name="connsiteY5" fmla="*/ 762009 h 762009"/>
              <a:gd name="connsiteX6" fmla="*/ 1523857 w 9946663"/>
              <a:gd name="connsiteY6" fmla="*/ 762009 h 762009"/>
              <a:gd name="connsiteX7" fmla="*/ 0 w 9946663"/>
              <a:gd name="connsiteY7" fmla="*/ 762009 h 762009"/>
              <a:gd name="connsiteX8" fmla="*/ 773762 w 9946663"/>
              <a:gd name="connsiteY8" fmla="*/ 2 h 762009"/>
              <a:gd name="connsiteX9" fmla="*/ 2275863 w 9946663"/>
              <a:gd name="connsiteY9" fmla="*/ 2 h 762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946663" h="762009">
                <a:moveTo>
                  <a:pt x="2275863" y="0"/>
                </a:moveTo>
                <a:lnTo>
                  <a:pt x="9946663" y="0"/>
                </a:lnTo>
                <a:lnTo>
                  <a:pt x="9946663" y="762008"/>
                </a:lnTo>
                <a:lnTo>
                  <a:pt x="2315322" y="762008"/>
                </a:lnTo>
                <a:lnTo>
                  <a:pt x="2315322" y="762009"/>
                </a:lnTo>
                <a:lnTo>
                  <a:pt x="2056351" y="762009"/>
                </a:lnTo>
                <a:lnTo>
                  <a:pt x="1523857" y="762009"/>
                </a:lnTo>
                <a:lnTo>
                  <a:pt x="0" y="762009"/>
                </a:lnTo>
                <a:lnTo>
                  <a:pt x="773762" y="2"/>
                </a:lnTo>
                <a:lnTo>
                  <a:pt x="2275863" y="2"/>
                </a:lnTo>
                <a:close/>
              </a:path>
            </a:pathLst>
          </a:custGeom>
          <a:solidFill>
            <a:srgbClr val="C525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5C4754B0-61A2-06F1-1BA3-CB301D8DF21F}"/>
              </a:ext>
            </a:extLst>
          </p:cNvPr>
          <p:cNvSpPr/>
          <p:nvPr userDrawn="1"/>
        </p:nvSpPr>
        <p:spPr>
          <a:xfrm>
            <a:off x="2387630" y="6095992"/>
            <a:ext cx="9804370" cy="762009"/>
          </a:xfrm>
          <a:custGeom>
            <a:avLst/>
            <a:gdLst>
              <a:gd name="connsiteX0" fmla="*/ 2275863 w 9804370"/>
              <a:gd name="connsiteY0" fmla="*/ 0 h 762009"/>
              <a:gd name="connsiteX1" fmla="*/ 9804370 w 9804370"/>
              <a:gd name="connsiteY1" fmla="*/ 0 h 762009"/>
              <a:gd name="connsiteX2" fmla="*/ 9804370 w 9804370"/>
              <a:gd name="connsiteY2" fmla="*/ 762008 h 762009"/>
              <a:gd name="connsiteX3" fmla="*/ 2315322 w 9804370"/>
              <a:gd name="connsiteY3" fmla="*/ 762008 h 762009"/>
              <a:gd name="connsiteX4" fmla="*/ 2315322 w 9804370"/>
              <a:gd name="connsiteY4" fmla="*/ 762009 h 762009"/>
              <a:gd name="connsiteX5" fmla="*/ 2056351 w 9804370"/>
              <a:gd name="connsiteY5" fmla="*/ 762009 h 762009"/>
              <a:gd name="connsiteX6" fmla="*/ 1523857 w 9804370"/>
              <a:gd name="connsiteY6" fmla="*/ 762009 h 762009"/>
              <a:gd name="connsiteX7" fmla="*/ 0 w 9804370"/>
              <a:gd name="connsiteY7" fmla="*/ 762009 h 762009"/>
              <a:gd name="connsiteX8" fmla="*/ 773762 w 9804370"/>
              <a:gd name="connsiteY8" fmla="*/ 2 h 762009"/>
              <a:gd name="connsiteX9" fmla="*/ 2275863 w 9804370"/>
              <a:gd name="connsiteY9" fmla="*/ 2 h 762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804370" h="762009">
                <a:moveTo>
                  <a:pt x="2275863" y="0"/>
                </a:moveTo>
                <a:lnTo>
                  <a:pt x="9804370" y="0"/>
                </a:lnTo>
                <a:lnTo>
                  <a:pt x="9804370" y="762008"/>
                </a:lnTo>
                <a:lnTo>
                  <a:pt x="2315322" y="762008"/>
                </a:lnTo>
                <a:lnTo>
                  <a:pt x="2315322" y="762009"/>
                </a:lnTo>
                <a:lnTo>
                  <a:pt x="2056351" y="762009"/>
                </a:lnTo>
                <a:lnTo>
                  <a:pt x="1523857" y="762009"/>
                </a:lnTo>
                <a:lnTo>
                  <a:pt x="0" y="762009"/>
                </a:lnTo>
                <a:lnTo>
                  <a:pt x="773762" y="2"/>
                </a:lnTo>
                <a:lnTo>
                  <a:pt x="2275863" y="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Rectangle: Single Corner Rounded 11">
            <a:extLst>
              <a:ext uri="{FF2B5EF4-FFF2-40B4-BE49-F238E27FC236}">
                <a16:creationId xmlns:a16="http://schemas.microsoft.com/office/drawing/2014/main" id="{6EF0EB05-A812-5A56-5598-272C4A9E27BD}"/>
              </a:ext>
            </a:extLst>
          </p:cNvPr>
          <p:cNvSpPr/>
          <p:nvPr userDrawn="1"/>
        </p:nvSpPr>
        <p:spPr>
          <a:xfrm flipV="1">
            <a:off x="9042400" y="-5"/>
            <a:ext cx="3149600" cy="6095998"/>
          </a:xfrm>
          <a:prstGeom prst="round1Rect">
            <a:avLst>
              <a:gd name="adj" fmla="val 0"/>
            </a:avLst>
          </a:prstGeom>
          <a:solidFill>
            <a:srgbClr val="03030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Picture 30" descr="Financial graphs on a dark display">
            <a:extLst>
              <a:ext uri="{FF2B5EF4-FFF2-40B4-BE49-F238E27FC236}">
                <a16:creationId xmlns:a16="http://schemas.microsoft.com/office/drawing/2014/main" id="{975A1636-12B5-18FE-17A3-9843737E47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17" r="775"/>
          <a:stretch/>
        </p:blipFill>
        <p:spPr>
          <a:xfrm>
            <a:off x="0" y="0"/>
            <a:ext cx="9042400" cy="609600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36E67DBC-DB3C-3936-CFEF-70AADFFAF88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0322" y="6320190"/>
            <a:ext cx="1488376" cy="345369"/>
          </a:xfrm>
          <a:prstGeom prst="rect">
            <a:avLst/>
          </a:prstGeom>
        </p:spPr>
      </p:pic>
      <p:sp>
        <p:nvSpPr>
          <p:cNvPr id="35" name="Title 1">
            <a:extLst>
              <a:ext uri="{FF2B5EF4-FFF2-40B4-BE49-F238E27FC236}">
                <a16:creationId xmlns:a16="http://schemas.microsoft.com/office/drawing/2014/main" id="{7A8CDEA5-EAAA-A676-F82B-9CA61D2E7CF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97823" y="2106173"/>
            <a:ext cx="4613178" cy="1231106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Sales Presentation and Board Deck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6D8C160F-D910-2479-A7F2-A1E7104884F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197823" y="3463871"/>
            <a:ext cx="4613178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of the presentation or presenter name and title</a:t>
            </a:r>
          </a:p>
        </p:txBody>
      </p:sp>
      <p:sp>
        <p:nvSpPr>
          <p:cNvPr id="37" name="Text Placeholder 152">
            <a:extLst>
              <a:ext uri="{FF2B5EF4-FFF2-40B4-BE49-F238E27FC236}">
                <a16:creationId xmlns:a16="http://schemas.microsoft.com/office/drawing/2014/main" id="{671852A1-3087-FBE5-E1D4-5EEFE6BC44B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8421" y="4425574"/>
            <a:ext cx="4613178" cy="1938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D-MM-YY</a:t>
            </a: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1B76A73D-61EE-F3DA-1B9B-251C6BF2D787}"/>
              </a:ext>
            </a:extLst>
          </p:cNvPr>
          <p:cNvCxnSpPr>
            <a:cxnSpLocks/>
          </p:cNvCxnSpPr>
          <p:nvPr userDrawn="1"/>
        </p:nvCxnSpPr>
        <p:spPr>
          <a:xfrm>
            <a:off x="7197823" y="4252499"/>
            <a:ext cx="461317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Subtitle 2">
            <a:extLst>
              <a:ext uri="{FF2B5EF4-FFF2-40B4-BE49-F238E27FC236}">
                <a16:creationId xmlns:a16="http://schemas.microsoft.com/office/drawing/2014/main" id="{42E5E71E-1B87-BE65-9F17-797D0A5768E1}"/>
              </a:ext>
            </a:extLst>
          </p:cNvPr>
          <p:cNvSpPr txBox="1">
            <a:spLocks/>
          </p:cNvSpPr>
          <p:nvPr userDrawn="1"/>
        </p:nvSpPr>
        <p:spPr>
          <a:xfrm>
            <a:off x="7197823" y="193423"/>
            <a:ext cx="2210542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r>
              <a:rPr lang="en-US" sz="1000" baseline="0">
                <a:solidFill>
                  <a:schemeClr val="bg1"/>
                </a:solidFill>
              </a:rPr>
              <a:t>© 2002-2022 think-cell Software GmbH</a:t>
            </a:r>
          </a:p>
        </p:txBody>
      </p:sp>
      <p:sp>
        <p:nvSpPr>
          <p:cNvPr id="62" name="Subtitle 2">
            <a:extLst>
              <a:ext uri="{FF2B5EF4-FFF2-40B4-BE49-F238E27FC236}">
                <a16:creationId xmlns:a16="http://schemas.microsoft.com/office/drawing/2014/main" id="{38E86078-230C-3EE1-5258-C44B1D43BC2F}"/>
              </a:ext>
            </a:extLst>
          </p:cNvPr>
          <p:cNvSpPr txBox="1">
            <a:spLocks/>
          </p:cNvSpPr>
          <p:nvPr userDrawn="1"/>
        </p:nvSpPr>
        <p:spPr>
          <a:xfrm>
            <a:off x="7197823" y="417548"/>
            <a:ext cx="1482778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>
              <a:buNone/>
            </a:pPr>
            <a:r>
              <a:rPr lang="en-US" sz="1000" baseline="0">
                <a:solidFill>
                  <a:schemeClr val="bg1"/>
                </a:solidFill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5614502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8426928-B814-9B0C-3004-18575D1EBB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0821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8426928-B814-9B0C-3004-18575D1EBB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6EF0EB05-A812-5A56-5598-272C4A9E27BD}"/>
              </a:ext>
            </a:extLst>
          </p:cNvPr>
          <p:cNvSpPr/>
          <p:nvPr userDrawn="1"/>
        </p:nvSpPr>
        <p:spPr>
          <a:xfrm>
            <a:off x="0" y="0"/>
            <a:ext cx="12192000" cy="60293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1EC61C7-FCC8-334E-C596-244A4CD92337}"/>
              </a:ext>
            </a:extLst>
          </p:cNvPr>
          <p:cNvSpPr/>
          <p:nvPr userDrawn="1"/>
        </p:nvSpPr>
        <p:spPr>
          <a:xfrm rot="16200000">
            <a:off x="2268497" y="-730610"/>
            <a:ext cx="2427814" cy="6634609"/>
          </a:xfrm>
          <a:custGeom>
            <a:avLst/>
            <a:gdLst>
              <a:gd name="connsiteX0" fmla="*/ 0 w 2427814"/>
              <a:gd name="connsiteY0" fmla="*/ 0 h 6634609"/>
              <a:gd name="connsiteX1" fmla="*/ 7694 w 2427814"/>
              <a:gd name="connsiteY1" fmla="*/ 5239369 h 6634609"/>
              <a:gd name="connsiteX2" fmla="*/ 2427811 w 2427814"/>
              <a:gd name="connsiteY2" fmla="*/ 6634609 h 6634609"/>
              <a:gd name="connsiteX3" fmla="*/ 2427811 w 2427814"/>
              <a:gd name="connsiteY3" fmla="*/ 821219 h 6634609"/>
              <a:gd name="connsiteX4" fmla="*/ 2427814 w 2427814"/>
              <a:gd name="connsiteY4" fmla="*/ 821219 h 6634609"/>
              <a:gd name="connsiteX5" fmla="*/ 2427814 w 2427814"/>
              <a:gd name="connsiteY5" fmla="*/ 0 h 6634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27814" h="6634609">
                <a:moveTo>
                  <a:pt x="0" y="0"/>
                </a:moveTo>
                <a:lnTo>
                  <a:pt x="7694" y="5239369"/>
                </a:lnTo>
                <a:lnTo>
                  <a:pt x="2427811" y="6634609"/>
                </a:lnTo>
                <a:lnTo>
                  <a:pt x="2427811" y="821219"/>
                </a:lnTo>
                <a:lnTo>
                  <a:pt x="2427814" y="821219"/>
                </a:lnTo>
                <a:lnTo>
                  <a:pt x="2427814" y="0"/>
                </a:lnTo>
                <a:close/>
              </a:path>
            </a:pathLst>
          </a:custGeom>
          <a:solidFill>
            <a:srgbClr val="C525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8B0EC855-A602-043A-E001-3D8D38F0C6CA}"/>
              </a:ext>
            </a:extLst>
          </p:cNvPr>
          <p:cNvCxnSpPr/>
          <p:nvPr userDrawn="1"/>
        </p:nvCxnSpPr>
        <p:spPr>
          <a:xfrm>
            <a:off x="-635651" y="0"/>
            <a:ext cx="0" cy="6029325"/>
          </a:xfrm>
          <a:prstGeom prst="line">
            <a:avLst/>
          </a:prstGeom>
          <a:ln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5B9EC6B1-8B9D-1C7C-9E00-D629524FDBF6}"/>
              </a:ext>
            </a:extLst>
          </p:cNvPr>
          <p:cNvCxnSpPr/>
          <p:nvPr userDrawn="1"/>
        </p:nvCxnSpPr>
        <p:spPr>
          <a:xfrm>
            <a:off x="-52664" y="0"/>
            <a:ext cx="0" cy="6029325"/>
          </a:xfrm>
          <a:prstGeom prst="line">
            <a:avLst/>
          </a:prstGeom>
          <a:ln>
            <a:solidFill>
              <a:schemeClr val="bg1">
                <a:alpha val="12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E3B47B30-C267-E0CD-A8E1-3E4FB85D8C58}"/>
              </a:ext>
            </a:extLst>
          </p:cNvPr>
          <p:cNvSpPr/>
          <p:nvPr userDrawn="1"/>
        </p:nvSpPr>
        <p:spPr>
          <a:xfrm rot="16200000">
            <a:off x="2103397" y="-730611"/>
            <a:ext cx="2427814" cy="6634609"/>
          </a:xfrm>
          <a:custGeom>
            <a:avLst/>
            <a:gdLst>
              <a:gd name="connsiteX0" fmla="*/ 0 w 2427814"/>
              <a:gd name="connsiteY0" fmla="*/ 0 h 6634609"/>
              <a:gd name="connsiteX1" fmla="*/ 7694 w 2427814"/>
              <a:gd name="connsiteY1" fmla="*/ 5239369 h 6634609"/>
              <a:gd name="connsiteX2" fmla="*/ 2427811 w 2427814"/>
              <a:gd name="connsiteY2" fmla="*/ 6634609 h 6634609"/>
              <a:gd name="connsiteX3" fmla="*/ 2427811 w 2427814"/>
              <a:gd name="connsiteY3" fmla="*/ 821219 h 6634609"/>
              <a:gd name="connsiteX4" fmla="*/ 2427814 w 2427814"/>
              <a:gd name="connsiteY4" fmla="*/ 821219 h 6634609"/>
              <a:gd name="connsiteX5" fmla="*/ 2427814 w 2427814"/>
              <a:gd name="connsiteY5" fmla="*/ 0 h 6634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27814" h="6634609">
                <a:moveTo>
                  <a:pt x="0" y="0"/>
                </a:moveTo>
                <a:lnTo>
                  <a:pt x="7694" y="5239369"/>
                </a:lnTo>
                <a:lnTo>
                  <a:pt x="2427811" y="6634609"/>
                </a:lnTo>
                <a:lnTo>
                  <a:pt x="2427811" y="821219"/>
                </a:lnTo>
                <a:lnTo>
                  <a:pt x="2427814" y="821219"/>
                </a:lnTo>
                <a:lnTo>
                  <a:pt x="2427814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5D9E91-A76C-876B-649B-17F95C4510A5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530321" y="2077264"/>
            <a:ext cx="5108479" cy="615553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divider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B520037-983E-8B35-8533-DBB6BD595C63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530322" y="2819409"/>
            <a:ext cx="4844318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opic</a:t>
            </a:r>
          </a:p>
        </p:txBody>
      </p:sp>
      <p:sp>
        <p:nvSpPr>
          <p:cNvPr id="194" name="Subtitle 2">
            <a:extLst>
              <a:ext uri="{FF2B5EF4-FFF2-40B4-BE49-F238E27FC236}">
                <a16:creationId xmlns:a16="http://schemas.microsoft.com/office/drawing/2014/main" id="{861201AD-B501-D41D-B031-E29A061FE13C}"/>
              </a:ext>
            </a:extLst>
          </p:cNvPr>
          <p:cNvSpPr txBox="1">
            <a:spLocks/>
          </p:cNvSpPr>
          <p:nvPr userDrawn="1"/>
        </p:nvSpPr>
        <p:spPr>
          <a:xfrm>
            <a:off x="5557391" y="6640393"/>
            <a:ext cx="1077218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000" baseline="0"/>
              <a:t>Strictly confidential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52DDDD5-1FDD-3A0C-C64B-D4239711A12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0322" y="6320190"/>
            <a:ext cx="1488376" cy="345369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05D6E55-720A-3198-F18B-FDE1619FFC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57095" y="4197514"/>
            <a:ext cx="2553905" cy="2391424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6600" b="1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22887943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ext steps/Questi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8426928-B814-9B0C-3004-18575D1EBB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2076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8426928-B814-9B0C-3004-18575D1EBB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21E9584F-D93C-26E0-5BDA-190EE234FD6E}"/>
              </a:ext>
            </a:extLst>
          </p:cNvPr>
          <p:cNvSpPr/>
          <p:nvPr userDrawn="1"/>
        </p:nvSpPr>
        <p:spPr>
          <a:xfrm>
            <a:off x="0" y="0"/>
            <a:ext cx="12192000" cy="609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Subtitle 2">
            <a:extLst>
              <a:ext uri="{FF2B5EF4-FFF2-40B4-BE49-F238E27FC236}">
                <a16:creationId xmlns:a16="http://schemas.microsoft.com/office/drawing/2014/main" id="{D41E1225-291F-7BC7-759A-E21E46B2E7D5}"/>
              </a:ext>
            </a:extLst>
          </p:cNvPr>
          <p:cNvSpPr txBox="1">
            <a:spLocks/>
          </p:cNvSpPr>
          <p:nvPr userDrawn="1"/>
        </p:nvSpPr>
        <p:spPr>
          <a:xfrm>
            <a:off x="5557391" y="6640393"/>
            <a:ext cx="1077218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000" baseline="0">
                <a:solidFill>
                  <a:schemeClr val="bg1"/>
                </a:solidFill>
              </a:rPr>
              <a:t>Strictly confidential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F42447DA-CEE9-6049-10D2-0D214D2027C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0322" y="6320190"/>
            <a:ext cx="1488376" cy="345369"/>
          </a:xfrm>
          <a:prstGeom prst="rect">
            <a:avLst/>
          </a:prstGeom>
        </p:spPr>
      </p:pic>
      <p:pic>
        <p:nvPicPr>
          <p:cNvPr id="37" name="Picture 36" descr="Financial graphs on a dark display">
            <a:extLst>
              <a:ext uri="{FF2B5EF4-FFF2-40B4-BE49-F238E27FC236}">
                <a16:creationId xmlns:a16="http://schemas.microsoft.com/office/drawing/2014/main" id="{9019178B-77C1-81C1-38C6-C1201723E9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duotone>
              <a:prstClr val="black"/>
              <a:schemeClr val="tx2">
                <a:tint val="45000"/>
                <a:satMod val="400000"/>
              </a:schemeClr>
            </a:duotone>
            <a:alphaModFix amt="1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00" b="10000"/>
          <a:stretch/>
        </p:blipFill>
        <p:spPr>
          <a:xfrm>
            <a:off x="0" y="0"/>
            <a:ext cx="12192000" cy="6096000"/>
          </a:xfrm>
          <a:prstGeom prst="rect">
            <a:avLst/>
          </a:prstGeom>
        </p:spPr>
      </p:pic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03F3FF31-54CB-9BE8-53D5-9BAEFF6FC556}"/>
              </a:ext>
            </a:extLst>
          </p:cNvPr>
          <p:cNvSpPr/>
          <p:nvPr userDrawn="1"/>
        </p:nvSpPr>
        <p:spPr>
          <a:xfrm rot="5400000" flipV="1">
            <a:off x="707004" y="4703908"/>
            <a:ext cx="685088" cy="2099096"/>
          </a:xfrm>
          <a:custGeom>
            <a:avLst/>
            <a:gdLst>
              <a:gd name="connsiteX0" fmla="*/ 685088 w 685088"/>
              <a:gd name="connsiteY0" fmla="*/ 0 h 2099096"/>
              <a:gd name="connsiteX1" fmla="*/ 685088 w 685088"/>
              <a:gd name="connsiteY1" fmla="*/ 234785 h 2099096"/>
              <a:gd name="connsiteX2" fmla="*/ 685088 w 685088"/>
              <a:gd name="connsiteY2" fmla="*/ 717550 h 2099096"/>
              <a:gd name="connsiteX3" fmla="*/ 685088 w 685088"/>
              <a:gd name="connsiteY3" fmla="*/ 2099096 h 2099096"/>
              <a:gd name="connsiteX4" fmla="*/ 0 w 685088"/>
              <a:gd name="connsiteY4" fmla="*/ 1397595 h 2099096"/>
              <a:gd name="connsiteX5" fmla="*/ 0 w 685088"/>
              <a:gd name="connsiteY5" fmla="*/ 0 h 2099096"/>
              <a:gd name="connsiteX6" fmla="*/ 323138 w 685088"/>
              <a:gd name="connsiteY6" fmla="*/ 0 h 2099096"/>
              <a:gd name="connsiteX7" fmla="*/ 450302 w 685088"/>
              <a:gd name="connsiteY7" fmla="*/ 0 h 2099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088" h="2099096">
                <a:moveTo>
                  <a:pt x="685088" y="0"/>
                </a:moveTo>
                <a:lnTo>
                  <a:pt x="685088" y="234785"/>
                </a:lnTo>
                <a:lnTo>
                  <a:pt x="685088" y="717550"/>
                </a:lnTo>
                <a:lnTo>
                  <a:pt x="685088" y="2099096"/>
                </a:lnTo>
                <a:lnTo>
                  <a:pt x="0" y="1397595"/>
                </a:lnTo>
                <a:lnTo>
                  <a:pt x="0" y="0"/>
                </a:lnTo>
                <a:lnTo>
                  <a:pt x="323138" y="0"/>
                </a:lnTo>
                <a:lnTo>
                  <a:pt x="450302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5D9E91-A76C-876B-649B-17F95C4510A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28900" y="2622268"/>
            <a:ext cx="6934200" cy="615553"/>
          </a:xfrm>
          <a:prstGeom prst="rect">
            <a:avLst/>
          </a:prstGeom>
        </p:spPr>
        <p:txBody>
          <a:bodyPr vert="horz" wrap="square" lIns="0" tIns="0" rIns="0" bIns="0" anchor="ctr">
            <a:spAutoFit/>
          </a:bodyPr>
          <a:lstStyle>
            <a:lvl1pPr algn="ctr" rtl="0">
              <a:lnSpc>
                <a:spcPct val="100000"/>
              </a:lnSpc>
              <a:spcBef>
                <a:spcPts val="0"/>
              </a:spcBef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Next steps/question</a:t>
            </a:r>
          </a:p>
        </p:txBody>
      </p:sp>
    </p:spTree>
    <p:extLst>
      <p:ext uri="{BB962C8B-B14F-4D97-AF65-F5344CB8AC3E}">
        <p14:creationId xmlns:p14="http://schemas.microsoft.com/office/powerpoint/2010/main" val="3241675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8426928-B814-9B0C-3004-18575D1EBB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1044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8426928-B814-9B0C-3004-18575D1EBB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21E9584F-D93C-26E0-5BDA-190EE234FD6E}"/>
              </a:ext>
            </a:extLst>
          </p:cNvPr>
          <p:cNvSpPr/>
          <p:nvPr userDrawn="1"/>
        </p:nvSpPr>
        <p:spPr>
          <a:xfrm>
            <a:off x="0" y="0"/>
            <a:ext cx="12192000" cy="609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Subtitle 2">
            <a:extLst>
              <a:ext uri="{FF2B5EF4-FFF2-40B4-BE49-F238E27FC236}">
                <a16:creationId xmlns:a16="http://schemas.microsoft.com/office/drawing/2014/main" id="{D41E1225-291F-7BC7-759A-E21E46B2E7D5}"/>
              </a:ext>
            </a:extLst>
          </p:cNvPr>
          <p:cNvSpPr txBox="1">
            <a:spLocks/>
          </p:cNvSpPr>
          <p:nvPr userDrawn="1"/>
        </p:nvSpPr>
        <p:spPr>
          <a:xfrm>
            <a:off x="5557391" y="6640393"/>
            <a:ext cx="1077218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000" baseline="0">
                <a:solidFill>
                  <a:schemeClr val="bg1"/>
                </a:solidFill>
              </a:rPr>
              <a:t>Strictly confidential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F42447DA-CEE9-6049-10D2-0D214D2027C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0322" y="6320190"/>
            <a:ext cx="1488376" cy="345369"/>
          </a:xfrm>
          <a:prstGeom prst="rect">
            <a:avLst/>
          </a:prstGeom>
        </p:spPr>
      </p:pic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03F3FF31-54CB-9BE8-53D5-9BAEFF6FC556}"/>
              </a:ext>
            </a:extLst>
          </p:cNvPr>
          <p:cNvSpPr/>
          <p:nvPr userDrawn="1"/>
        </p:nvSpPr>
        <p:spPr>
          <a:xfrm rot="5400000" flipV="1">
            <a:off x="707004" y="4703908"/>
            <a:ext cx="685088" cy="2099096"/>
          </a:xfrm>
          <a:custGeom>
            <a:avLst/>
            <a:gdLst>
              <a:gd name="connsiteX0" fmla="*/ 685088 w 685088"/>
              <a:gd name="connsiteY0" fmla="*/ 0 h 2099096"/>
              <a:gd name="connsiteX1" fmla="*/ 685088 w 685088"/>
              <a:gd name="connsiteY1" fmla="*/ 234785 h 2099096"/>
              <a:gd name="connsiteX2" fmla="*/ 685088 w 685088"/>
              <a:gd name="connsiteY2" fmla="*/ 717550 h 2099096"/>
              <a:gd name="connsiteX3" fmla="*/ 685088 w 685088"/>
              <a:gd name="connsiteY3" fmla="*/ 2099096 h 2099096"/>
              <a:gd name="connsiteX4" fmla="*/ 0 w 685088"/>
              <a:gd name="connsiteY4" fmla="*/ 1397595 h 2099096"/>
              <a:gd name="connsiteX5" fmla="*/ 0 w 685088"/>
              <a:gd name="connsiteY5" fmla="*/ 0 h 2099096"/>
              <a:gd name="connsiteX6" fmla="*/ 323138 w 685088"/>
              <a:gd name="connsiteY6" fmla="*/ 0 h 2099096"/>
              <a:gd name="connsiteX7" fmla="*/ 450302 w 685088"/>
              <a:gd name="connsiteY7" fmla="*/ 0 h 2099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088" h="2099096">
                <a:moveTo>
                  <a:pt x="685088" y="0"/>
                </a:moveTo>
                <a:lnTo>
                  <a:pt x="685088" y="234785"/>
                </a:lnTo>
                <a:lnTo>
                  <a:pt x="685088" y="717550"/>
                </a:lnTo>
                <a:lnTo>
                  <a:pt x="685088" y="2099096"/>
                </a:lnTo>
                <a:lnTo>
                  <a:pt x="0" y="1397595"/>
                </a:lnTo>
                <a:lnTo>
                  <a:pt x="0" y="0"/>
                </a:lnTo>
                <a:lnTo>
                  <a:pt x="323138" y="0"/>
                </a:lnTo>
                <a:lnTo>
                  <a:pt x="450302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30F30E4-A8AC-214A-08BF-8DDF2059BA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alphaModFix amt="14000"/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41" b="12541"/>
          <a:stretch/>
        </p:blipFill>
        <p:spPr>
          <a:xfrm>
            <a:off x="0" y="0"/>
            <a:ext cx="12192000" cy="6096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55D9E91-A76C-876B-649B-17F95C4510A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28900" y="2282567"/>
            <a:ext cx="6934200" cy="615553"/>
          </a:xfrm>
          <a:prstGeom prst="rect">
            <a:avLst/>
          </a:prstGeom>
        </p:spPr>
        <p:txBody>
          <a:bodyPr vert="horz" wrap="square" lIns="0" tIns="0" rIns="0" bIns="0" anchor="ctr">
            <a:spAutoFit/>
          </a:bodyPr>
          <a:lstStyle>
            <a:lvl1pPr algn="ctr" rtl="0">
              <a:lnSpc>
                <a:spcPct val="100000"/>
              </a:lnSpc>
              <a:spcBef>
                <a:spcPts val="0"/>
              </a:spcBef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C8DAC7D-C950-BCBE-5F18-79302056C5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28900" y="3026935"/>
            <a:ext cx="69342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ntact us</a:t>
            </a:r>
          </a:p>
        </p:txBody>
      </p:sp>
    </p:spTree>
    <p:extLst>
      <p:ext uri="{BB962C8B-B14F-4D97-AF65-F5344CB8AC3E}">
        <p14:creationId xmlns:p14="http://schemas.microsoft.com/office/powerpoint/2010/main" val="33454484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a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8920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27500" y="1258503"/>
            <a:ext cx="7683500" cy="492443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Name Last nam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C42A4A5-54CF-06F1-DCDE-C706BC257F48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37AF78E-858D-D6AC-448F-8F635261C259}"/>
              </a:ext>
            </a:extLst>
          </p:cNvPr>
          <p:cNvCxnSpPr>
            <a:cxnSpLocks/>
          </p:cNvCxnSpPr>
          <p:nvPr userDrawn="1"/>
        </p:nvCxnSpPr>
        <p:spPr>
          <a:xfrm>
            <a:off x="3543300" y="1371600"/>
            <a:ext cx="0" cy="47244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E1E40DA-B9A9-D442-B77E-42AB3E670CD2}"/>
              </a:ext>
            </a:extLst>
          </p:cNvPr>
          <p:cNvSpPr/>
          <p:nvPr userDrawn="1"/>
        </p:nvSpPr>
        <p:spPr>
          <a:xfrm flipH="1">
            <a:off x="3543300" y="1371600"/>
            <a:ext cx="85626" cy="262360"/>
          </a:xfrm>
          <a:custGeom>
            <a:avLst/>
            <a:gdLst>
              <a:gd name="connsiteX0" fmla="*/ 685088 w 685088"/>
              <a:gd name="connsiteY0" fmla="*/ 0 h 2099096"/>
              <a:gd name="connsiteX1" fmla="*/ 685088 w 685088"/>
              <a:gd name="connsiteY1" fmla="*/ 234785 h 2099096"/>
              <a:gd name="connsiteX2" fmla="*/ 685088 w 685088"/>
              <a:gd name="connsiteY2" fmla="*/ 717550 h 2099096"/>
              <a:gd name="connsiteX3" fmla="*/ 685088 w 685088"/>
              <a:gd name="connsiteY3" fmla="*/ 2099096 h 2099096"/>
              <a:gd name="connsiteX4" fmla="*/ 0 w 685088"/>
              <a:gd name="connsiteY4" fmla="*/ 1397595 h 2099096"/>
              <a:gd name="connsiteX5" fmla="*/ 0 w 685088"/>
              <a:gd name="connsiteY5" fmla="*/ 0 h 2099096"/>
              <a:gd name="connsiteX6" fmla="*/ 323138 w 685088"/>
              <a:gd name="connsiteY6" fmla="*/ 0 h 2099096"/>
              <a:gd name="connsiteX7" fmla="*/ 450302 w 685088"/>
              <a:gd name="connsiteY7" fmla="*/ 0 h 2099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088" h="2099096">
                <a:moveTo>
                  <a:pt x="685088" y="0"/>
                </a:moveTo>
                <a:lnTo>
                  <a:pt x="685088" y="234785"/>
                </a:lnTo>
                <a:lnTo>
                  <a:pt x="685088" y="717550"/>
                </a:lnTo>
                <a:lnTo>
                  <a:pt x="685088" y="2099096"/>
                </a:lnTo>
                <a:lnTo>
                  <a:pt x="0" y="1397595"/>
                </a:lnTo>
                <a:lnTo>
                  <a:pt x="0" y="0"/>
                </a:lnTo>
                <a:lnTo>
                  <a:pt x="323138" y="0"/>
                </a:lnTo>
                <a:lnTo>
                  <a:pt x="450302" y="0"/>
                </a:lnTo>
                <a:close/>
              </a:path>
            </a:pathLst>
          </a:custGeom>
          <a:solidFill>
            <a:srgbClr val="C52536"/>
          </a:solidFill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5F8DBEB-BDE2-5958-4C95-588578A7DD2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81000" y="1371600"/>
            <a:ext cx="2590800" cy="27178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Person picture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020185D3-479B-78FC-C25B-EB834447C0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27500" y="1851550"/>
            <a:ext cx="7683500" cy="3323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CDD333D6-928E-C705-D5E0-4847042E553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27500" y="3262800"/>
            <a:ext cx="7683500" cy="1487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/>
              <a:t>In our 20 mins call, we will:</a:t>
            </a: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/>
              <a:t>Answer your questions</a:t>
            </a: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/>
              <a:t>Show you the tool in action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70304043-7D3A-6CAE-5B87-A8F7C6D8BA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27500" y="5753100"/>
            <a:ext cx="1520823" cy="342900"/>
          </a:xfrm>
          <a:prstGeom prst="roundRect">
            <a:avLst/>
          </a:prstGeom>
          <a:solidFill>
            <a:srgbClr val="C52536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2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Schedule meeting</a:t>
            </a:r>
          </a:p>
        </p:txBody>
      </p:sp>
    </p:spTree>
    <p:extLst>
      <p:ext uri="{BB962C8B-B14F-4D97-AF65-F5344CB8AC3E}">
        <p14:creationId xmlns:p14="http://schemas.microsoft.com/office/powerpoint/2010/main" val="25118427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8426928-B814-9B0C-3004-18575D1EBB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8238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8426928-B814-9B0C-3004-18575D1EBB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Picture 24">
            <a:extLst>
              <a:ext uri="{FF2B5EF4-FFF2-40B4-BE49-F238E27FC236}">
                <a16:creationId xmlns:a16="http://schemas.microsoft.com/office/drawing/2014/main" id="{A1E5ACAB-541D-5FFE-618E-C61859E30A9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0322" y="6320190"/>
            <a:ext cx="1488376" cy="345369"/>
          </a:xfrm>
          <a:prstGeom prst="rect">
            <a:avLst/>
          </a:prstGeom>
        </p:spPr>
      </p:pic>
      <p:pic>
        <p:nvPicPr>
          <p:cNvPr id="6" name="Picture 5" descr="A picture containing text&#10;&#10;Description automatically generated">
            <a:extLst>
              <a:ext uri="{FF2B5EF4-FFF2-40B4-BE49-F238E27FC236}">
                <a16:creationId xmlns:a16="http://schemas.microsoft.com/office/drawing/2014/main" id="{8A045DBC-0863-9CF0-BDE9-CA86B2A019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30" r="6112"/>
          <a:stretch/>
        </p:blipFill>
        <p:spPr>
          <a:xfrm>
            <a:off x="0" y="0"/>
            <a:ext cx="8345714" cy="6172200"/>
          </a:xfrm>
          <a:prstGeom prst="rect">
            <a:avLst/>
          </a:prstGeom>
        </p:spPr>
      </p:pic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1C69514C-1B0F-6A0E-BE4C-C31E54056940}"/>
              </a:ext>
            </a:extLst>
          </p:cNvPr>
          <p:cNvSpPr/>
          <p:nvPr userDrawn="1"/>
        </p:nvSpPr>
        <p:spPr>
          <a:xfrm>
            <a:off x="5080002" y="0"/>
            <a:ext cx="7111999" cy="6172200"/>
          </a:xfrm>
          <a:custGeom>
            <a:avLst/>
            <a:gdLst>
              <a:gd name="connsiteX0" fmla="*/ 2547946 w 7111999"/>
              <a:gd name="connsiteY0" fmla="*/ 0 h 6172200"/>
              <a:gd name="connsiteX1" fmla="*/ 7111999 w 7111999"/>
              <a:gd name="connsiteY1" fmla="*/ 0 h 6172200"/>
              <a:gd name="connsiteX2" fmla="*/ 7111999 w 7111999"/>
              <a:gd name="connsiteY2" fmla="*/ 6172200 h 6172200"/>
              <a:gd name="connsiteX3" fmla="*/ 0 w 7111999"/>
              <a:gd name="connsiteY3" fmla="*/ 6172200 h 6172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11999" h="6172200">
                <a:moveTo>
                  <a:pt x="2547946" y="0"/>
                </a:moveTo>
                <a:lnTo>
                  <a:pt x="7111999" y="0"/>
                </a:lnTo>
                <a:lnTo>
                  <a:pt x="7111999" y="6172200"/>
                </a:lnTo>
                <a:lnTo>
                  <a:pt x="0" y="6172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7A8CDEA5-EAAA-A676-F82B-9CA61D2E7CFC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7464455" y="1582341"/>
            <a:ext cx="4267200" cy="1846659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Sales Presentation and Board Deck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6D8C160F-D910-2479-A7F2-A1E7104884F3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7464455" y="3555592"/>
            <a:ext cx="4267200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of the presentation or presenter name and title</a:t>
            </a:r>
          </a:p>
        </p:txBody>
      </p:sp>
      <p:sp>
        <p:nvSpPr>
          <p:cNvPr id="37" name="Text Placeholder 152">
            <a:extLst>
              <a:ext uri="{FF2B5EF4-FFF2-40B4-BE49-F238E27FC236}">
                <a16:creationId xmlns:a16="http://schemas.microsoft.com/office/drawing/2014/main" id="{671852A1-3087-FBE5-E1D4-5EEFE6BC44BB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7464455" y="4517295"/>
            <a:ext cx="4267200" cy="1938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D-MM-YY</a:t>
            </a: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1B76A73D-61EE-F3DA-1B9B-251C6BF2D787}"/>
              </a:ext>
            </a:extLst>
          </p:cNvPr>
          <p:cNvCxnSpPr>
            <a:cxnSpLocks/>
          </p:cNvCxnSpPr>
          <p:nvPr userDrawn="1"/>
        </p:nvCxnSpPr>
        <p:spPr>
          <a:xfrm>
            <a:off x="7464455" y="4344220"/>
            <a:ext cx="42672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37379603-FF24-7E54-3E6B-76A750ACF3DF}"/>
              </a:ext>
            </a:extLst>
          </p:cNvPr>
          <p:cNvSpPr/>
          <p:nvPr userDrawn="1"/>
        </p:nvSpPr>
        <p:spPr>
          <a:xfrm>
            <a:off x="5070477" y="0"/>
            <a:ext cx="2693089" cy="6172200"/>
          </a:xfrm>
          <a:custGeom>
            <a:avLst/>
            <a:gdLst>
              <a:gd name="connsiteX0" fmla="*/ 2547946 w 2693089"/>
              <a:gd name="connsiteY0" fmla="*/ 0 h 6172200"/>
              <a:gd name="connsiteX1" fmla="*/ 2693089 w 2693089"/>
              <a:gd name="connsiteY1" fmla="*/ 0 h 6172200"/>
              <a:gd name="connsiteX2" fmla="*/ 145143 w 2693089"/>
              <a:gd name="connsiteY2" fmla="*/ 6172200 h 6172200"/>
              <a:gd name="connsiteX3" fmla="*/ 0 w 2693089"/>
              <a:gd name="connsiteY3" fmla="*/ 6172200 h 6172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93089" h="6172200">
                <a:moveTo>
                  <a:pt x="2547946" y="0"/>
                </a:moveTo>
                <a:lnTo>
                  <a:pt x="2693089" y="0"/>
                </a:lnTo>
                <a:lnTo>
                  <a:pt x="145143" y="6172200"/>
                </a:lnTo>
                <a:lnTo>
                  <a:pt x="0" y="6172200"/>
                </a:lnTo>
                <a:close/>
              </a:path>
            </a:pathLst>
          </a:custGeom>
          <a:solidFill>
            <a:srgbClr val="C525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3AC5E79-A17B-BDB7-FB05-2F49576DAC8A}"/>
              </a:ext>
            </a:extLst>
          </p:cNvPr>
          <p:cNvSpPr txBox="1">
            <a:spLocks/>
          </p:cNvSpPr>
          <p:nvPr userDrawn="1"/>
        </p:nvSpPr>
        <p:spPr>
          <a:xfrm>
            <a:off x="9598055" y="6306782"/>
            <a:ext cx="2210542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rtl="0">
              <a:buNone/>
            </a:pPr>
            <a:r>
              <a:rPr lang="en-US" sz="1000" baseline="0">
                <a:solidFill>
                  <a:schemeClr val="tx1"/>
                </a:solidFill>
              </a:rPr>
              <a:t>© 2002-2022 think-cell Software GmbH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5BC28CBA-9E9C-098B-DCE3-91A1B95F8389}"/>
              </a:ext>
            </a:extLst>
          </p:cNvPr>
          <p:cNvSpPr txBox="1">
            <a:spLocks/>
          </p:cNvSpPr>
          <p:nvPr userDrawn="1"/>
        </p:nvSpPr>
        <p:spPr>
          <a:xfrm>
            <a:off x="10167070" y="6527060"/>
            <a:ext cx="1641527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1000" baseline="0">
                <a:solidFill>
                  <a:schemeClr val="tx1"/>
                </a:solidFill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929465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usto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8426928-B814-9B0C-3004-18575D1EBB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4907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8426928-B814-9B0C-3004-18575D1EBB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5B9EC6B1-8B9D-1C7C-9E00-D629524FDBF6}"/>
              </a:ext>
            </a:extLst>
          </p:cNvPr>
          <p:cNvCxnSpPr/>
          <p:nvPr userDrawn="1"/>
        </p:nvCxnSpPr>
        <p:spPr>
          <a:xfrm>
            <a:off x="-52664" y="0"/>
            <a:ext cx="0" cy="6029325"/>
          </a:xfrm>
          <a:prstGeom prst="line">
            <a:avLst/>
          </a:prstGeom>
          <a:ln>
            <a:solidFill>
              <a:schemeClr val="bg1">
                <a:alpha val="12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5" name="Picture 184">
            <a:extLst>
              <a:ext uri="{FF2B5EF4-FFF2-40B4-BE49-F238E27FC236}">
                <a16:creationId xmlns:a16="http://schemas.microsoft.com/office/drawing/2014/main" id="{B328C01B-EF80-01E9-AE18-4F925708AE5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0322" y="6320190"/>
            <a:ext cx="1488376" cy="345369"/>
          </a:xfrm>
          <a:prstGeom prst="rect">
            <a:avLst/>
          </a:prstGeom>
        </p:spPr>
      </p:pic>
      <p:sp>
        <p:nvSpPr>
          <p:cNvPr id="103" name="Freeform: Shape 102">
            <a:extLst>
              <a:ext uri="{FF2B5EF4-FFF2-40B4-BE49-F238E27FC236}">
                <a16:creationId xmlns:a16="http://schemas.microsoft.com/office/drawing/2014/main" id="{19CAD1A5-9E07-E722-F6D5-6DC532AFB851}"/>
              </a:ext>
            </a:extLst>
          </p:cNvPr>
          <p:cNvSpPr/>
          <p:nvPr userDrawn="1"/>
        </p:nvSpPr>
        <p:spPr>
          <a:xfrm rot="5400000" flipV="1">
            <a:off x="707004" y="4703908"/>
            <a:ext cx="685088" cy="2099096"/>
          </a:xfrm>
          <a:custGeom>
            <a:avLst/>
            <a:gdLst>
              <a:gd name="connsiteX0" fmla="*/ 685088 w 685088"/>
              <a:gd name="connsiteY0" fmla="*/ 0 h 2099096"/>
              <a:gd name="connsiteX1" fmla="*/ 685088 w 685088"/>
              <a:gd name="connsiteY1" fmla="*/ 234785 h 2099096"/>
              <a:gd name="connsiteX2" fmla="*/ 685088 w 685088"/>
              <a:gd name="connsiteY2" fmla="*/ 717550 h 2099096"/>
              <a:gd name="connsiteX3" fmla="*/ 685088 w 685088"/>
              <a:gd name="connsiteY3" fmla="*/ 2099096 h 2099096"/>
              <a:gd name="connsiteX4" fmla="*/ 0 w 685088"/>
              <a:gd name="connsiteY4" fmla="*/ 1397595 h 2099096"/>
              <a:gd name="connsiteX5" fmla="*/ 0 w 685088"/>
              <a:gd name="connsiteY5" fmla="*/ 0 h 2099096"/>
              <a:gd name="connsiteX6" fmla="*/ 323138 w 685088"/>
              <a:gd name="connsiteY6" fmla="*/ 0 h 2099096"/>
              <a:gd name="connsiteX7" fmla="*/ 450302 w 685088"/>
              <a:gd name="connsiteY7" fmla="*/ 0 h 2099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088" h="2099096">
                <a:moveTo>
                  <a:pt x="685088" y="0"/>
                </a:moveTo>
                <a:lnTo>
                  <a:pt x="685088" y="234785"/>
                </a:lnTo>
                <a:lnTo>
                  <a:pt x="685088" y="717550"/>
                </a:lnTo>
                <a:lnTo>
                  <a:pt x="685088" y="2099096"/>
                </a:lnTo>
                <a:lnTo>
                  <a:pt x="0" y="1397595"/>
                </a:lnTo>
                <a:lnTo>
                  <a:pt x="0" y="0"/>
                </a:lnTo>
                <a:lnTo>
                  <a:pt x="323138" y="0"/>
                </a:lnTo>
                <a:lnTo>
                  <a:pt x="450302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116" name="Subtitle 2">
            <a:extLst>
              <a:ext uri="{FF2B5EF4-FFF2-40B4-BE49-F238E27FC236}">
                <a16:creationId xmlns:a16="http://schemas.microsoft.com/office/drawing/2014/main" id="{2AA77A88-2555-6FD4-37EC-96AA90E1C0E4}"/>
              </a:ext>
            </a:extLst>
          </p:cNvPr>
          <p:cNvSpPr txBox="1">
            <a:spLocks/>
          </p:cNvSpPr>
          <p:nvPr userDrawn="1"/>
        </p:nvSpPr>
        <p:spPr>
          <a:xfrm>
            <a:off x="9598055" y="6306782"/>
            <a:ext cx="2210542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rtl="0">
              <a:buNone/>
            </a:pPr>
            <a:r>
              <a:rPr lang="en-US" sz="1000" baseline="0">
                <a:solidFill>
                  <a:schemeClr val="tx1"/>
                </a:solidFill>
              </a:rPr>
              <a:t>© 2002-2022 think-cell Software GmbH</a:t>
            </a:r>
          </a:p>
        </p:txBody>
      </p:sp>
      <p:sp>
        <p:nvSpPr>
          <p:cNvPr id="194" name="Subtitle 2">
            <a:extLst>
              <a:ext uri="{FF2B5EF4-FFF2-40B4-BE49-F238E27FC236}">
                <a16:creationId xmlns:a16="http://schemas.microsoft.com/office/drawing/2014/main" id="{861201AD-B501-D41D-B031-E29A061FE13C}"/>
              </a:ext>
            </a:extLst>
          </p:cNvPr>
          <p:cNvSpPr txBox="1">
            <a:spLocks/>
          </p:cNvSpPr>
          <p:nvPr userDrawn="1"/>
        </p:nvSpPr>
        <p:spPr>
          <a:xfrm>
            <a:off x="10167070" y="6527060"/>
            <a:ext cx="1641527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1000" baseline="0">
                <a:solidFill>
                  <a:schemeClr val="tx1"/>
                </a:solidFill>
              </a:rPr>
              <a:t>STRICTLY CONFIDENTIAL</a:t>
            </a:r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BC5F875F-AFE4-7F65-CC21-5CE3A6A2AF1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096000"/>
          </a:xfrm>
          <a:custGeom>
            <a:avLst/>
            <a:gdLst>
              <a:gd name="connsiteX0" fmla="*/ 6667500 w 12192000"/>
              <a:gd name="connsiteY0" fmla="*/ 939800 h 6096000"/>
              <a:gd name="connsiteX1" fmla="*/ 6667500 w 12192000"/>
              <a:gd name="connsiteY1" fmla="*/ 5486400 h 6096000"/>
              <a:gd name="connsiteX2" fmla="*/ 11811001 w 12192000"/>
              <a:gd name="connsiteY2" fmla="*/ 5486400 h 6096000"/>
              <a:gd name="connsiteX3" fmla="*/ 11811001 w 12192000"/>
              <a:gd name="connsiteY3" fmla="*/ 939800 h 6096000"/>
              <a:gd name="connsiteX4" fmla="*/ 0 w 12192000"/>
              <a:gd name="connsiteY4" fmla="*/ 0 h 6096000"/>
              <a:gd name="connsiteX5" fmla="*/ 12192000 w 12192000"/>
              <a:gd name="connsiteY5" fmla="*/ 0 h 6096000"/>
              <a:gd name="connsiteX6" fmla="*/ 12192000 w 12192000"/>
              <a:gd name="connsiteY6" fmla="*/ 6096000 h 6096000"/>
              <a:gd name="connsiteX7" fmla="*/ 2099096 w 12192000"/>
              <a:gd name="connsiteY7" fmla="*/ 6096000 h 6096000"/>
              <a:gd name="connsiteX8" fmla="*/ 1397595 w 12192000"/>
              <a:gd name="connsiteY8" fmla="*/ 5410912 h 6096000"/>
              <a:gd name="connsiteX9" fmla="*/ 0 w 12192000"/>
              <a:gd name="connsiteY9" fmla="*/ 5410912 h 609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6096000">
                <a:moveTo>
                  <a:pt x="6667500" y="939800"/>
                </a:moveTo>
                <a:lnTo>
                  <a:pt x="6667500" y="5486400"/>
                </a:lnTo>
                <a:lnTo>
                  <a:pt x="11811001" y="5486400"/>
                </a:lnTo>
                <a:lnTo>
                  <a:pt x="11811001" y="9398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096000"/>
                </a:lnTo>
                <a:lnTo>
                  <a:pt x="2099096" y="6096000"/>
                </a:lnTo>
                <a:lnTo>
                  <a:pt x="1397595" y="5410912"/>
                </a:lnTo>
                <a:lnTo>
                  <a:pt x="0" y="541091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377190" tIns="331470" rIns="377190" bIns="331470" anchor="ctr">
            <a:no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picture her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3FFB0D0-0570-48A3-D906-910EEE8F486C}"/>
              </a:ext>
            </a:extLst>
          </p:cNvPr>
          <p:cNvSpPr/>
          <p:nvPr userDrawn="1"/>
        </p:nvSpPr>
        <p:spPr>
          <a:xfrm>
            <a:off x="6667500" y="939800"/>
            <a:ext cx="5143501" cy="4546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B05F00E-B5B1-4A19-1203-70FAAD146A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096126" y="2054318"/>
            <a:ext cx="4443064" cy="1846659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40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Sales Presentation and Board Deck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BB8E5546-55F1-299D-08CD-395EC6CD53C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096126" y="4027569"/>
            <a:ext cx="4443064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of the presentation or presenter name and title</a:t>
            </a:r>
          </a:p>
        </p:txBody>
      </p:sp>
      <p:sp>
        <p:nvSpPr>
          <p:cNvPr id="11" name="Text Placeholder 152">
            <a:extLst>
              <a:ext uri="{FF2B5EF4-FFF2-40B4-BE49-F238E27FC236}">
                <a16:creationId xmlns:a16="http://schemas.microsoft.com/office/drawing/2014/main" id="{ED924610-3364-403B-7375-088B45CFBB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26610" y="4901824"/>
            <a:ext cx="4613178" cy="1938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D-MM-Y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4533200-1F81-2552-6164-668D931F0819}"/>
              </a:ext>
            </a:extLst>
          </p:cNvPr>
          <p:cNvCxnSpPr>
            <a:cxnSpLocks/>
          </p:cNvCxnSpPr>
          <p:nvPr userDrawn="1"/>
        </p:nvCxnSpPr>
        <p:spPr>
          <a:xfrm>
            <a:off x="6926012" y="4728749"/>
            <a:ext cx="461317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reeform: Shape 108">
            <a:extLst>
              <a:ext uri="{FF2B5EF4-FFF2-40B4-BE49-F238E27FC236}">
                <a16:creationId xmlns:a16="http://schemas.microsoft.com/office/drawing/2014/main" id="{089E96A4-E3B7-1AEE-A0C9-C2B06CFFCDE7}"/>
              </a:ext>
            </a:extLst>
          </p:cNvPr>
          <p:cNvSpPr/>
          <p:nvPr userDrawn="1"/>
        </p:nvSpPr>
        <p:spPr>
          <a:xfrm rot="16200000" flipH="1" flipV="1">
            <a:off x="11365197" y="4554756"/>
            <a:ext cx="85626" cy="262360"/>
          </a:xfrm>
          <a:custGeom>
            <a:avLst/>
            <a:gdLst>
              <a:gd name="connsiteX0" fmla="*/ 685088 w 685088"/>
              <a:gd name="connsiteY0" fmla="*/ 0 h 2099096"/>
              <a:gd name="connsiteX1" fmla="*/ 685088 w 685088"/>
              <a:gd name="connsiteY1" fmla="*/ 234785 h 2099096"/>
              <a:gd name="connsiteX2" fmla="*/ 685088 w 685088"/>
              <a:gd name="connsiteY2" fmla="*/ 717550 h 2099096"/>
              <a:gd name="connsiteX3" fmla="*/ 685088 w 685088"/>
              <a:gd name="connsiteY3" fmla="*/ 2099096 h 2099096"/>
              <a:gd name="connsiteX4" fmla="*/ 0 w 685088"/>
              <a:gd name="connsiteY4" fmla="*/ 1397595 h 2099096"/>
              <a:gd name="connsiteX5" fmla="*/ 0 w 685088"/>
              <a:gd name="connsiteY5" fmla="*/ 0 h 2099096"/>
              <a:gd name="connsiteX6" fmla="*/ 323138 w 685088"/>
              <a:gd name="connsiteY6" fmla="*/ 0 h 2099096"/>
              <a:gd name="connsiteX7" fmla="*/ 450302 w 685088"/>
              <a:gd name="connsiteY7" fmla="*/ 0 h 2099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088" h="2099096">
                <a:moveTo>
                  <a:pt x="685088" y="0"/>
                </a:moveTo>
                <a:lnTo>
                  <a:pt x="685088" y="234785"/>
                </a:lnTo>
                <a:lnTo>
                  <a:pt x="685088" y="717550"/>
                </a:lnTo>
                <a:lnTo>
                  <a:pt x="685088" y="2099096"/>
                </a:lnTo>
                <a:lnTo>
                  <a:pt x="0" y="1397595"/>
                </a:lnTo>
                <a:lnTo>
                  <a:pt x="0" y="0"/>
                </a:lnTo>
                <a:lnTo>
                  <a:pt x="323138" y="0"/>
                </a:lnTo>
                <a:lnTo>
                  <a:pt x="450302" y="0"/>
                </a:lnTo>
                <a:close/>
              </a:path>
            </a:pathLst>
          </a:custGeom>
          <a:solidFill>
            <a:srgbClr val="DCDFE5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sp>
        <p:nvSpPr>
          <p:cNvPr id="14" name="Freeform: Shape 112">
            <a:extLst>
              <a:ext uri="{FF2B5EF4-FFF2-40B4-BE49-F238E27FC236}">
                <a16:creationId xmlns:a16="http://schemas.microsoft.com/office/drawing/2014/main" id="{3CE9F2F0-9D95-96A2-6C8D-514FCE3C2F80}"/>
              </a:ext>
            </a:extLst>
          </p:cNvPr>
          <p:cNvSpPr/>
          <p:nvPr userDrawn="1"/>
        </p:nvSpPr>
        <p:spPr>
          <a:xfrm flipH="1">
            <a:off x="6926012" y="1852612"/>
            <a:ext cx="85626" cy="262360"/>
          </a:xfrm>
          <a:custGeom>
            <a:avLst/>
            <a:gdLst>
              <a:gd name="connsiteX0" fmla="*/ 685088 w 685088"/>
              <a:gd name="connsiteY0" fmla="*/ 0 h 2099096"/>
              <a:gd name="connsiteX1" fmla="*/ 685088 w 685088"/>
              <a:gd name="connsiteY1" fmla="*/ 234785 h 2099096"/>
              <a:gd name="connsiteX2" fmla="*/ 685088 w 685088"/>
              <a:gd name="connsiteY2" fmla="*/ 717550 h 2099096"/>
              <a:gd name="connsiteX3" fmla="*/ 685088 w 685088"/>
              <a:gd name="connsiteY3" fmla="*/ 2099096 h 2099096"/>
              <a:gd name="connsiteX4" fmla="*/ 0 w 685088"/>
              <a:gd name="connsiteY4" fmla="*/ 1397595 h 2099096"/>
              <a:gd name="connsiteX5" fmla="*/ 0 w 685088"/>
              <a:gd name="connsiteY5" fmla="*/ 0 h 2099096"/>
              <a:gd name="connsiteX6" fmla="*/ 323138 w 685088"/>
              <a:gd name="connsiteY6" fmla="*/ 0 h 2099096"/>
              <a:gd name="connsiteX7" fmla="*/ 450302 w 685088"/>
              <a:gd name="connsiteY7" fmla="*/ 0 h 2099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088" h="2099096">
                <a:moveTo>
                  <a:pt x="685088" y="0"/>
                </a:moveTo>
                <a:lnTo>
                  <a:pt x="685088" y="234785"/>
                </a:lnTo>
                <a:lnTo>
                  <a:pt x="685088" y="717550"/>
                </a:lnTo>
                <a:lnTo>
                  <a:pt x="685088" y="2099096"/>
                </a:lnTo>
                <a:lnTo>
                  <a:pt x="0" y="1397595"/>
                </a:lnTo>
                <a:lnTo>
                  <a:pt x="0" y="0"/>
                </a:lnTo>
                <a:lnTo>
                  <a:pt x="323138" y="0"/>
                </a:lnTo>
                <a:lnTo>
                  <a:pt x="450302" y="0"/>
                </a:lnTo>
                <a:close/>
              </a:path>
            </a:pathLst>
          </a:custGeom>
          <a:solidFill>
            <a:srgbClr val="C52536"/>
          </a:solidFill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85C2BFF-6C4C-5C66-2BAE-D85ADE68EC57}"/>
              </a:ext>
            </a:extLst>
          </p:cNvPr>
          <p:cNvCxnSpPr>
            <a:cxnSpLocks/>
          </p:cNvCxnSpPr>
          <p:nvPr userDrawn="1"/>
        </p:nvCxnSpPr>
        <p:spPr>
          <a:xfrm>
            <a:off x="6926012" y="1847850"/>
            <a:ext cx="0" cy="2880899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05997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944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7" y="370734"/>
            <a:ext cx="10087643" cy="43088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A5697B-520A-E5F2-D74E-EB8AB77567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6" y="108070"/>
            <a:ext cx="1828800" cy="152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2B0A06-23B3-5ECF-8269-EB15920D5C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2556" y="6321067"/>
            <a:ext cx="11389394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C42A4A5-54CF-06F1-DCDE-C706BC257F48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2602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944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7" y="370734"/>
            <a:ext cx="10087643" cy="43088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A5697B-520A-E5F2-D74E-EB8AB77567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6" y="108070"/>
            <a:ext cx="1828800" cy="152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2B0A06-23B3-5ECF-8269-EB15920D5C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2556" y="6321067"/>
            <a:ext cx="11389394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C42A4A5-54CF-06F1-DCDE-C706BC257F48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E3D101A-6690-B914-CD9E-B29701DF1D9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97305" y="1465446"/>
            <a:ext cx="11294645" cy="4715435"/>
          </a:xfrm>
          <a:prstGeom prst="rect">
            <a:avLst/>
          </a:prstGeo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reeform: Shape 8">
            <a:extLst>
              <a:ext uri="{FF2B5EF4-FFF2-40B4-BE49-F238E27FC236}">
                <a16:creationId xmlns:a16="http://schemas.microsoft.com/office/drawing/2014/main" id="{10559E5D-F7EC-2639-924D-54E527B393F8}"/>
              </a:ext>
            </a:extLst>
          </p:cNvPr>
          <p:cNvSpPr/>
          <p:nvPr userDrawn="1"/>
        </p:nvSpPr>
        <p:spPr>
          <a:xfrm>
            <a:off x="402557" y="1380744"/>
            <a:ext cx="5504330" cy="4715435"/>
          </a:xfrm>
          <a:custGeom>
            <a:avLst/>
            <a:gdLst>
              <a:gd name="connsiteX0" fmla="*/ 5504330 w 5504330"/>
              <a:gd name="connsiteY0" fmla="*/ 0 h 4625788"/>
              <a:gd name="connsiteX1" fmla="*/ 0 w 5504330"/>
              <a:gd name="connsiteY1" fmla="*/ 0 h 4625788"/>
              <a:gd name="connsiteX2" fmla="*/ 0 w 5504330"/>
              <a:gd name="connsiteY2" fmla="*/ 4625788 h 4625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504330" h="4625788">
                <a:moveTo>
                  <a:pt x="5504330" y="0"/>
                </a:moveTo>
                <a:lnTo>
                  <a:pt x="0" y="0"/>
                </a:lnTo>
                <a:lnTo>
                  <a:pt x="0" y="4625788"/>
                </a:lnTo>
              </a:path>
            </a:pathLst>
          </a:cu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18568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0747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: Shape 8">
            <a:extLst>
              <a:ext uri="{FF2B5EF4-FFF2-40B4-BE49-F238E27FC236}">
                <a16:creationId xmlns:a16="http://schemas.microsoft.com/office/drawing/2014/main" id="{C7613F55-E39C-8E3D-2494-61EAACEBC35C}"/>
              </a:ext>
            </a:extLst>
          </p:cNvPr>
          <p:cNvSpPr/>
          <p:nvPr userDrawn="1"/>
        </p:nvSpPr>
        <p:spPr>
          <a:xfrm>
            <a:off x="402557" y="1380744"/>
            <a:ext cx="5504330" cy="4715435"/>
          </a:xfrm>
          <a:custGeom>
            <a:avLst/>
            <a:gdLst>
              <a:gd name="connsiteX0" fmla="*/ 5504330 w 5504330"/>
              <a:gd name="connsiteY0" fmla="*/ 0 h 4625788"/>
              <a:gd name="connsiteX1" fmla="*/ 0 w 5504330"/>
              <a:gd name="connsiteY1" fmla="*/ 0 h 4625788"/>
              <a:gd name="connsiteX2" fmla="*/ 0 w 5504330"/>
              <a:gd name="connsiteY2" fmla="*/ 4625788 h 4625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504330" h="4625788">
                <a:moveTo>
                  <a:pt x="5504330" y="0"/>
                </a:moveTo>
                <a:lnTo>
                  <a:pt x="0" y="0"/>
                </a:lnTo>
                <a:lnTo>
                  <a:pt x="0" y="4625788"/>
                </a:lnTo>
              </a:path>
            </a:pathLst>
          </a:cu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reeform: Shape 18">
            <a:extLst>
              <a:ext uri="{FF2B5EF4-FFF2-40B4-BE49-F238E27FC236}">
                <a16:creationId xmlns:a16="http://schemas.microsoft.com/office/drawing/2014/main" id="{B8B6FB89-6E25-58E8-69D4-25D7688B0F83}"/>
              </a:ext>
            </a:extLst>
          </p:cNvPr>
          <p:cNvSpPr/>
          <p:nvPr userDrawn="1"/>
        </p:nvSpPr>
        <p:spPr>
          <a:xfrm>
            <a:off x="6325456" y="1380564"/>
            <a:ext cx="5504330" cy="4715435"/>
          </a:xfrm>
          <a:custGeom>
            <a:avLst/>
            <a:gdLst>
              <a:gd name="connsiteX0" fmla="*/ 5504330 w 5504330"/>
              <a:gd name="connsiteY0" fmla="*/ 0 h 4625788"/>
              <a:gd name="connsiteX1" fmla="*/ 0 w 5504330"/>
              <a:gd name="connsiteY1" fmla="*/ 0 h 4625788"/>
              <a:gd name="connsiteX2" fmla="*/ 0 w 5504330"/>
              <a:gd name="connsiteY2" fmla="*/ 4625788 h 4625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504330" h="4625788">
                <a:moveTo>
                  <a:pt x="5504330" y="0"/>
                </a:moveTo>
                <a:lnTo>
                  <a:pt x="0" y="0"/>
                </a:lnTo>
                <a:lnTo>
                  <a:pt x="0" y="4625788"/>
                </a:lnTo>
              </a:path>
            </a:pathLst>
          </a:cu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7" y="370734"/>
            <a:ext cx="10087643" cy="43088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A5697B-520A-E5F2-D74E-EB8AB77567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6" y="108070"/>
            <a:ext cx="1828800" cy="152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2B0A06-23B3-5ECF-8269-EB15920D5C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2556" y="6321067"/>
            <a:ext cx="11389394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C42A4A5-54CF-06F1-DCDE-C706BC257F48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E3D101A-6690-B914-CD9E-B29701DF1D9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97305" y="1465446"/>
            <a:ext cx="5598695" cy="471543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3"/>
                </a:solidFill>
              </a:defRPr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E8630DBE-78DD-7B04-4D67-1010487CC4C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420204" y="1465266"/>
            <a:ext cx="5598695" cy="471543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3"/>
                </a:solidFill>
              </a:defRPr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68378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0747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7" y="370734"/>
            <a:ext cx="10087643" cy="43088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A5697B-520A-E5F2-D74E-EB8AB77567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6" y="108070"/>
            <a:ext cx="1828800" cy="152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2B0A06-23B3-5ECF-8269-EB15920D5C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2556" y="6321067"/>
            <a:ext cx="11389394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C42A4A5-54CF-06F1-DCDE-C706BC257F48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E3D101A-6690-B914-CD9E-B29701DF1D9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97306" y="1465446"/>
            <a:ext cx="3616098" cy="471543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3"/>
                </a:solidFill>
              </a:defRPr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reeform: Shape 22">
            <a:extLst>
              <a:ext uri="{FF2B5EF4-FFF2-40B4-BE49-F238E27FC236}">
                <a16:creationId xmlns:a16="http://schemas.microsoft.com/office/drawing/2014/main" id="{AD5492B1-CBF7-4E2B-EDA7-EB361EFD74AB}"/>
              </a:ext>
            </a:extLst>
          </p:cNvPr>
          <p:cNvSpPr/>
          <p:nvPr userDrawn="1"/>
        </p:nvSpPr>
        <p:spPr>
          <a:xfrm>
            <a:off x="402557" y="1380564"/>
            <a:ext cx="3572002" cy="4715435"/>
          </a:xfrm>
          <a:custGeom>
            <a:avLst/>
            <a:gdLst>
              <a:gd name="connsiteX0" fmla="*/ 5504330 w 5504330"/>
              <a:gd name="connsiteY0" fmla="*/ 0 h 4625788"/>
              <a:gd name="connsiteX1" fmla="*/ 0 w 5504330"/>
              <a:gd name="connsiteY1" fmla="*/ 0 h 4625788"/>
              <a:gd name="connsiteX2" fmla="*/ 0 w 5504330"/>
              <a:gd name="connsiteY2" fmla="*/ 4625788 h 4625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504330" h="4625788">
                <a:moveTo>
                  <a:pt x="5504330" y="0"/>
                </a:moveTo>
                <a:lnTo>
                  <a:pt x="0" y="0"/>
                </a:lnTo>
                <a:lnTo>
                  <a:pt x="0" y="4625788"/>
                </a:lnTo>
              </a:path>
            </a:pathLst>
          </a:cu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: Shape 23">
            <a:extLst>
              <a:ext uri="{FF2B5EF4-FFF2-40B4-BE49-F238E27FC236}">
                <a16:creationId xmlns:a16="http://schemas.microsoft.com/office/drawing/2014/main" id="{FE9B8148-C48F-0244-6FBF-DC26B106E084}"/>
              </a:ext>
            </a:extLst>
          </p:cNvPr>
          <p:cNvSpPr/>
          <p:nvPr userDrawn="1"/>
        </p:nvSpPr>
        <p:spPr>
          <a:xfrm>
            <a:off x="4321175" y="1380564"/>
            <a:ext cx="3572002" cy="4715435"/>
          </a:xfrm>
          <a:custGeom>
            <a:avLst/>
            <a:gdLst>
              <a:gd name="connsiteX0" fmla="*/ 5504330 w 5504330"/>
              <a:gd name="connsiteY0" fmla="*/ 0 h 4625788"/>
              <a:gd name="connsiteX1" fmla="*/ 0 w 5504330"/>
              <a:gd name="connsiteY1" fmla="*/ 0 h 4625788"/>
              <a:gd name="connsiteX2" fmla="*/ 0 w 5504330"/>
              <a:gd name="connsiteY2" fmla="*/ 4625788 h 4625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504330" h="4625788">
                <a:moveTo>
                  <a:pt x="5504330" y="0"/>
                </a:moveTo>
                <a:lnTo>
                  <a:pt x="0" y="0"/>
                </a:lnTo>
                <a:lnTo>
                  <a:pt x="0" y="4625788"/>
                </a:lnTo>
              </a:path>
            </a:pathLst>
          </a:cu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reeform: Shape 24">
            <a:extLst>
              <a:ext uri="{FF2B5EF4-FFF2-40B4-BE49-F238E27FC236}">
                <a16:creationId xmlns:a16="http://schemas.microsoft.com/office/drawing/2014/main" id="{C043D967-DF3C-48AD-09C5-EEE4609CFDB2}"/>
              </a:ext>
            </a:extLst>
          </p:cNvPr>
          <p:cNvSpPr/>
          <p:nvPr userDrawn="1"/>
        </p:nvSpPr>
        <p:spPr>
          <a:xfrm>
            <a:off x="8239125" y="1380564"/>
            <a:ext cx="3572002" cy="4715435"/>
          </a:xfrm>
          <a:custGeom>
            <a:avLst/>
            <a:gdLst>
              <a:gd name="connsiteX0" fmla="*/ 5504330 w 5504330"/>
              <a:gd name="connsiteY0" fmla="*/ 0 h 4625788"/>
              <a:gd name="connsiteX1" fmla="*/ 0 w 5504330"/>
              <a:gd name="connsiteY1" fmla="*/ 0 h 4625788"/>
              <a:gd name="connsiteX2" fmla="*/ 0 w 5504330"/>
              <a:gd name="connsiteY2" fmla="*/ 4625788 h 4625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504330" h="4625788">
                <a:moveTo>
                  <a:pt x="5504330" y="0"/>
                </a:moveTo>
                <a:lnTo>
                  <a:pt x="0" y="0"/>
                </a:lnTo>
                <a:lnTo>
                  <a:pt x="0" y="4625788"/>
                </a:lnTo>
              </a:path>
            </a:pathLst>
          </a:cu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0DF8C94D-88FA-4904-43A6-4B6C22FCC3F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412347" y="1465444"/>
            <a:ext cx="3616098" cy="471543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3"/>
                </a:solidFill>
              </a:defRPr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F4B9155F-20A0-327A-21D7-329B67DAE46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36057" y="1465444"/>
            <a:ext cx="3616098" cy="471543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3"/>
                </a:solidFill>
              </a:defRPr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71230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4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78259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2557" y="1257300"/>
            <a:ext cx="2569242" cy="615553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4000" b="1"/>
            </a:lvl1pPr>
          </a:lstStyle>
          <a:p>
            <a:r>
              <a:rPr lang="en-US"/>
              <a:t>Agenda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C42A4A5-54CF-06F1-DCDE-C706BC257F48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37AF78E-858D-D6AC-448F-8F635261C259}"/>
              </a:ext>
            </a:extLst>
          </p:cNvPr>
          <p:cNvCxnSpPr>
            <a:cxnSpLocks/>
          </p:cNvCxnSpPr>
          <p:nvPr userDrawn="1"/>
        </p:nvCxnSpPr>
        <p:spPr>
          <a:xfrm>
            <a:off x="3365500" y="1371600"/>
            <a:ext cx="0" cy="47244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E1E40DA-B9A9-D442-B77E-42AB3E670CD2}"/>
              </a:ext>
            </a:extLst>
          </p:cNvPr>
          <p:cNvSpPr/>
          <p:nvPr userDrawn="1"/>
        </p:nvSpPr>
        <p:spPr>
          <a:xfrm flipH="1">
            <a:off x="3365500" y="1371600"/>
            <a:ext cx="85626" cy="262360"/>
          </a:xfrm>
          <a:custGeom>
            <a:avLst/>
            <a:gdLst>
              <a:gd name="connsiteX0" fmla="*/ 685088 w 685088"/>
              <a:gd name="connsiteY0" fmla="*/ 0 h 2099096"/>
              <a:gd name="connsiteX1" fmla="*/ 685088 w 685088"/>
              <a:gd name="connsiteY1" fmla="*/ 234785 h 2099096"/>
              <a:gd name="connsiteX2" fmla="*/ 685088 w 685088"/>
              <a:gd name="connsiteY2" fmla="*/ 717550 h 2099096"/>
              <a:gd name="connsiteX3" fmla="*/ 685088 w 685088"/>
              <a:gd name="connsiteY3" fmla="*/ 2099096 h 2099096"/>
              <a:gd name="connsiteX4" fmla="*/ 0 w 685088"/>
              <a:gd name="connsiteY4" fmla="*/ 1397595 h 2099096"/>
              <a:gd name="connsiteX5" fmla="*/ 0 w 685088"/>
              <a:gd name="connsiteY5" fmla="*/ 0 h 2099096"/>
              <a:gd name="connsiteX6" fmla="*/ 323138 w 685088"/>
              <a:gd name="connsiteY6" fmla="*/ 0 h 2099096"/>
              <a:gd name="connsiteX7" fmla="*/ 450302 w 685088"/>
              <a:gd name="connsiteY7" fmla="*/ 0 h 2099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088" h="2099096">
                <a:moveTo>
                  <a:pt x="685088" y="0"/>
                </a:moveTo>
                <a:lnTo>
                  <a:pt x="685088" y="234785"/>
                </a:lnTo>
                <a:lnTo>
                  <a:pt x="685088" y="717550"/>
                </a:lnTo>
                <a:lnTo>
                  <a:pt x="685088" y="2099096"/>
                </a:lnTo>
                <a:lnTo>
                  <a:pt x="0" y="1397595"/>
                </a:lnTo>
                <a:lnTo>
                  <a:pt x="0" y="0"/>
                </a:lnTo>
                <a:lnTo>
                  <a:pt x="323138" y="0"/>
                </a:lnTo>
                <a:lnTo>
                  <a:pt x="450302" y="0"/>
                </a:lnTo>
                <a:close/>
              </a:path>
            </a:pathLst>
          </a:custGeom>
          <a:solidFill>
            <a:srgbClr val="C52536"/>
          </a:solidFill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92852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949233-A941-D356-5F3A-13F00A15FA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036357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81" imgH="381" progId="TCLayout.ActiveDocument.1">
                  <p:embed/>
                </p:oleObj>
              </mc:Choice>
              <mc:Fallback>
                <p:oleObj name="think-cell Slide" r:id="rId26" imgW="381" imgH="38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C949233-A941-D356-5F3A-13F00A15FA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2DC53A8D-FE22-665F-2404-A4CD8E92E2A3}"/>
              </a:ext>
            </a:extLst>
          </p:cNvPr>
          <p:cNvSpPr/>
          <p:nvPr userDrawn="1"/>
        </p:nvSpPr>
        <p:spPr>
          <a:xfrm>
            <a:off x="0" y="6530230"/>
            <a:ext cx="5119084" cy="32777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it-IT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5436A8DA-43C9-CAAE-A4A0-C0F3490DE5FE}"/>
              </a:ext>
            </a:extLst>
          </p:cNvPr>
          <p:cNvSpPr/>
          <p:nvPr userDrawn="1"/>
        </p:nvSpPr>
        <p:spPr>
          <a:xfrm>
            <a:off x="2772540" y="6530230"/>
            <a:ext cx="9419459" cy="327771"/>
          </a:xfrm>
          <a:custGeom>
            <a:avLst/>
            <a:gdLst>
              <a:gd name="connsiteX0" fmla="*/ 332828 w 9419459"/>
              <a:gd name="connsiteY0" fmla="*/ 0 h 327771"/>
              <a:gd name="connsiteX1" fmla="*/ 9419459 w 9419459"/>
              <a:gd name="connsiteY1" fmla="*/ 0 h 327771"/>
              <a:gd name="connsiteX2" fmla="*/ 9419459 w 9419459"/>
              <a:gd name="connsiteY2" fmla="*/ 327770 h 327771"/>
              <a:gd name="connsiteX3" fmla="*/ 2315323 w 9419459"/>
              <a:gd name="connsiteY3" fmla="*/ 327770 h 327771"/>
              <a:gd name="connsiteX4" fmla="*/ 2315323 w 9419459"/>
              <a:gd name="connsiteY4" fmla="*/ 327771 h 327771"/>
              <a:gd name="connsiteX5" fmla="*/ 2056351 w 9419459"/>
              <a:gd name="connsiteY5" fmla="*/ 327771 h 327771"/>
              <a:gd name="connsiteX6" fmla="*/ 1523857 w 9419459"/>
              <a:gd name="connsiteY6" fmla="*/ 327771 h 327771"/>
              <a:gd name="connsiteX7" fmla="*/ 0 w 9419459"/>
              <a:gd name="connsiteY7" fmla="*/ 327771 h 327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419459" h="327771">
                <a:moveTo>
                  <a:pt x="332828" y="0"/>
                </a:moveTo>
                <a:lnTo>
                  <a:pt x="9419459" y="0"/>
                </a:lnTo>
                <a:lnTo>
                  <a:pt x="9419459" y="327770"/>
                </a:lnTo>
                <a:lnTo>
                  <a:pt x="2315323" y="327770"/>
                </a:lnTo>
                <a:lnTo>
                  <a:pt x="2315323" y="327771"/>
                </a:lnTo>
                <a:lnTo>
                  <a:pt x="2056351" y="327771"/>
                </a:lnTo>
                <a:lnTo>
                  <a:pt x="1523857" y="327771"/>
                </a:lnTo>
                <a:lnTo>
                  <a:pt x="0" y="327771"/>
                </a:lnTo>
                <a:close/>
              </a:path>
            </a:pathLst>
          </a:custGeom>
          <a:solidFill>
            <a:srgbClr val="C525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969E3A92-83BC-2EDB-86BE-9426990F08B2}"/>
              </a:ext>
            </a:extLst>
          </p:cNvPr>
          <p:cNvSpPr txBox="1">
            <a:spLocks/>
          </p:cNvSpPr>
          <p:nvPr userDrawn="1"/>
        </p:nvSpPr>
        <p:spPr>
          <a:xfrm>
            <a:off x="356959" y="6640393"/>
            <a:ext cx="2221762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rtl="0">
              <a:buNone/>
            </a:pPr>
            <a:r>
              <a:rPr lang="en-US" sz="1000" baseline="0">
                <a:solidFill>
                  <a:schemeClr val="tx1"/>
                </a:solidFill>
              </a:rPr>
              <a:t>© 2002-2022 think-cell Software GmbH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B9813DD-0B19-A06D-8B01-418F9828095E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74084" y="465112"/>
            <a:ext cx="1036913" cy="240609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0165F90-4524-1A9A-4708-DBAAED701FFE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F768E3BD-23D0-BFE8-A6E8-4B7A30A39183}"/>
              </a:ext>
            </a:extLst>
          </p:cNvPr>
          <p:cNvSpPr/>
          <p:nvPr userDrawn="1"/>
        </p:nvSpPr>
        <p:spPr>
          <a:xfrm flipH="1">
            <a:off x="2935679" y="6530230"/>
            <a:ext cx="9256320" cy="327771"/>
          </a:xfrm>
          <a:custGeom>
            <a:avLst/>
            <a:gdLst>
              <a:gd name="connsiteX0" fmla="*/ 8923493 w 9256320"/>
              <a:gd name="connsiteY0" fmla="*/ 0 h 327771"/>
              <a:gd name="connsiteX1" fmla="*/ 0 w 9256320"/>
              <a:gd name="connsiteY1" fmla="*/ 0 h 327771"/>
              <a:gd name="connsiteX2" fmla="*/ 0 w 9256320"/>
              <a:gd name="connsiteY2" fmla="*/ 327770 h 327771"/>
              <a:gd name="connsiteX3" fmla="*/ 6940998 w 9256320"/>
              <a:gd name="connsiteY3" fmla="*/ 327770 h 327771"/>
              <a:gd name="connsiteX4" fmla="*/ 6940998 w 9256320"/>
              <a:gd name="connsiteY4" fmla="*/ 327771 h 327771"/>
              <a:gd name="connsiteX5" fmla="*/ 7199969 w 9256320"/>
              <a:gd name="connsiteY5" fmla="*/ 327771 h 327771"/>
              <a:gd name="connsiteX6" fmla="*/ 7732463 w 9256320"/>
              <a:gd name="connsiteY6" fmla="*/ 327771 h 327771"/>
              <a:gd name="connsiteX7" fmla="*/ 9256320 w 9256320"/>
              <a:gd name="connsiteY7" fmla="*/ 327771 h 327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256320" h="327771">
                <a:moveTo>
                  <a:pt x="8923493" y="0"/>
                </a:moveTo>
                <a:lnTo>
                  <a:pt x="0" y="0"/>
                </a:lnTo>
                <a:lnTo>
                  <a:pt x="0" y="327770"/>
                </a:lnTo>
                <a:lnTo>
                  <a:pt x="6940998" y="327770"/>
                </a:lnTo>
                <a:lnTo>
                  <a:pt x="6940998" y="327771"/>
                </a:lnTo>
                <a:lnTo>
                  <a:pt x="7199969" y="327771"/>
                </a:lnTo>
                <a:lnTo>
                  <a:pt x="7732463" y="327771"/>
                </a:lnTo>
                <a:lnTo>
                  <a:pt x="9256320" y="32777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it-IT"/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5AC7E640-4A5D-9BA8-123E-BA1ACBFAD50D}"/>
              </a:ext>
            </a:extLst>
          </p:cNvPr>
          <p:cNvSpPr txBox="1">
            <a:spLocks/>
          </p:cNvSpPr>
          <p:nvPr userDrawn="1"/>
        </p:nvSpPr>
        <p:spPr>
          <a:xfrm>
            <a:off x="11413198" y="6617170"/>
            <a:ext cx="340494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DF24D05E-FF6A-42BC-8F81-B4FE03159EF9}" type="slidenum">
              <a:rPr lang="en-US" smtClean="0">
                <a:solidFill>
                  <a:schemeClr val="bg1"/>
                </a:solidFill>
              </a:rPr>
              <a:pPr algn="r"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5E60701-532B-D537-A5C5-733EEADAB4CB}"/>
              </a:ext>
            </a:extLst>
          </p:cNvPr>
          <p:cNvSpPr txBox="1">
            <a:spLocks/>
          </p:cNvSpPr>
          <p:nvPr userDrawn="1"/>
        </p:nvSpPr>
        <p:spPr>
          <a:xfrm>
            <a:off x="5557391" y="6640393"/>
            <a:ext cx="1077218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000" baseline="0">
                <a:solidFill>
                  <a:schemeClr val="bg1"/>
                </a:solidFill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98397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  <p:sldLayoutId id="2147483662" r:id="rId3"/>
    <p:sldLayoutId id="2147483663" r:id="rId4"/>
    <p:sldLayoutId id="2147483652" r:id="rId5"/>
    <p:sldLayoutId id="2147483682" r:id="rId6"/>
    <p:sldLayoutId id="2147483687" r:id="rId7"/>
    <p:sldLayoutId id="2147483688" r:id="rId8"/>
    <p:sldLayoutId id="2147483677" r:id="rId9"/>
    <p:sldLayoutId id="2147483665" r:id="rId10"/>
    <p:sldLayoutId id="2147483683" r:id="rId11"/>
    <p:sldLayoutId id="2147483674" r:id="rId12"/>
    <p:sldLayoutId id="2147483684" r:id="rId13"/>
    <p:sldLayoutId id="2147483675" r:id="rId14"/>
    <p:sldLayoutId id="2147483685" r:id="rId15"/>
    <p:sldLayoutId id="2147483658" r:id="rId16"/>
    <p:sldLayoutId id="2147483686" r:id="rId17"/>
    <p:sldLayoutId id="2147483659" r:id="rId18"/>
    <p:sldLayoutId id="2147483667" r:id="rId19"/>
    <p:sldLayoutId id="2147483661" r:id="rId20"/>
    <p:sldLayoutId id="2147483678" r:id="rId21"/>
    <p:sldLayoutId id="2147483680" r:id="rId22"/>
    <p:sldLayoutId id="2147483681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92" userDrawn="1">
          <p15:clr>
            <a:srgbClr val="F26B43"/>
          </p15:clr>
        </p15:guide>
        <p15:guide id="2" pos="240" userDrawn="1">
          <p15:clr>
            <a:srgbClr val="F26B43"/>
          </p15:clr>
        </p15:guide>
        <p15:guide id="3" pos="7440" userDrawn="1">
          <p15:clr>
            <a:srgbClr val="F26B43"/>
          </p15:clr>
        </p15:guide>
        <p15:guide id="4" orient="horz" pos="3840" userDrawn="1">
          <p15:clr>
            <a:srgbClr val="F26B43"/>
          </p15:clr>
        </p15:guide>
        <p15:guide id="5" orient="horz" pos="86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image" Target="../media/image3.emf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12" Type="http://schemas.openxmlformats.org/officeDocument/2006/relationships/oleObject" Target="../embeddings/oleObject25.bin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11" Type="http://schemas.openxmlformats.org/officeDocument/2006/relationships/notesSlide" Target="../notesSlides/notesSlide1.xml"/><Relationship Id="rId5" Type="http://schemas.openxmlformats.org/officeDocument/2006/relationships/tags" Target="../tags/tag30.xml"/><Relationship Id="rId10" Type="http://schemas.openxmlformats.org/officeDocument/2006/relationships/slideLayout" Target="../slideLayouts/slideLayout12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13178F9-A2F4-5C72-7B7F-9397564502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7" imgH="348" progId="TCLayout.ActiveDocument.1">
                  <p:embed/>
                </p:oleObj>
              </mc:Choice>
              <mc:Fallback>
                <p:oleObj name="think-cell Slide" r:id="rId12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13178F9-A2F4-5C72-7B7F-939756450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72CDCBB-F70A-6A62-DE7D-1F70AA9CAA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6" y="370734"/>
            <a:ext cx="7446044" cy="861774"/>
          </a:xfrm>
        </p:spPr>
        <p:txBody>
          <a:bodyPr vert="horz"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anada leads North America in terms of its use of renewable energy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FAA446FA-01B7-35FA-AA47-37127A071523}"/>
              </a:ext>
            </a:extLst>
          </p:cNvPr>
          <p:cNvCxnSpPr>
            <a:cxnSpLocks/>
          </p:cNvCxnSpPr>
          <p:nvPr/>
        </p:nvCxnSpPr>
        <p:spPr>
          <a:xfrm>
            <a:off x="8417859" y="1379538"/>
            <a:ext cx="339314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Box 73">
            <a:extLst>
              <a:ext uri="{FF2B5EF4-FFF2-40B4-BE49-F238E27FC236}">
                <a16:creationId xmlns:a16="http://schemas.microsoft.com/office/drawing/2014/main" id="{241C926C-1CB8-D750-4559-78747039AD6D}"/>
              </a:ext>
            </a:extLst>
          </p:cNvPr>
          <p:cNvSpPr txBox="1"/>
          <p:nvPr/>
        </p:nvSpPr>
        <p:spPr>
          <a:xfrm>
            <a:off x="1023730" y="666915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5F7EAE78-B9B2-622E-B759-3698BF5D2E88}"/>
              </a:ext>
            </a:extLst>
          </p:cNvPr>
          <p:cNvSpPr txBox="1"/>
          <p:nvPr/>
        </p:nvSpPr>
        <p:spPr>
          <a:xfrm>
            <a:off x="1162878" y="17890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AAB23A8F-98D8-0AF8-C995-12DA2F1F3579}"/>
              </a:ext>
            </a:extLst>
          </p:cNvPr>
          <p:cNvSpPr txBox="1"/>
          <p:nvPr/>
        </p:nvSpPr>
        <p:spPr>
          <a:xfrm>
            <a:off x="655983" y="17890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1EA53F7C-0E4B-72EE-BBD0-DBB6D24EC858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8418513" y="1436688"/>
            <a:ext cx="3773488" cy="4462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Chart type: Appropriate use of line chart, but line width should be thickened to </a:t>
            </a:r>
            <a:r>
              <a:rPr lang="en-US" altLang="en-US" sz="1400" dirty="0">
                <a:solidFill>
                  <a:prstClr val="black"/>
                </a:solidFill>
              </a:rPr>
              <a:t>improve readability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Color: increase the contrast of the line colors</a:t>
            </a: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Scales: Increase the minimum starting value of the y-axis </a:t>
            </a: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Scales: The units on the y-axis are missing</a:t>
            </a: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en-US" altLang="en-US" sz="1400" dirty="0">
                <a:solidFill>
                  <a:prstClr val="black"/>
                </a:solidFill>
              </a:rPr>
              <a:t>Chart junk: Omit legend and label series endpoints directly</a:t>
            </a: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en-US" altLang="en-US" sz="1400" dirty="0">
                <a:solidFill>
                  <a:prstClr val="black"/>
                </a:solidFill>
              </a:rPr>
              <a:t>Chart junk: Omit tick marks for the x- and y-axes</a:t>
            </a: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en-US" altLang="en-US" sz="1400" dirty="0">
                <a:solidFill>
                  <a:prstClr val="black"/>
                </a:solidFill>
              </a:rPr>
              <a:t>Attribution: Missing chart author and data source</a:t>
            </a: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en-US" altLang="en-US" sz="1400" dirty="0">
                <a:solidFill>
                  <a:prstClr val="black"/>
                </a:solidFill>
              </a:rPr>
              <a:t>Data integrity: The data source is missing therefore it unclear where the data was sourced</a:t>
            </a: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endParaRPr lang="en-US" altLang="en-US" sz="1400" dirty="0">
              <a:solidFill>
                <a:prstClr val="black"/>
              </a:solidFill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endParaRPr lang="en-US" altLang="en-US" sz="1400" dirty="0">
              <a:solidFill>
                <a:prstClr val="black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A2116470-C6FA-A5C7-50F5-9ECBE5F87783}"/>
              </a:ext>
            </a:extLst>
          </p:cNvPr>
          <p:cNvSpPr/>
          <p:nvPr/>
        </p:nvSpPr>
        <p:spPr>
          <a:xfrm>
            <a:off x="333828" y="6611966"/>
            <a:ext cx="2307772" cy="24603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C025FB18-DAA0-4751-0591-5139EFB7E867}"/>
              </a:ext>
            </a:extLst>
          </p:cNvPr>
          <p:cNvSpPr/>
          <p:nvPr/>
        </p:nvSpPr>
        <p:spPr>
          <a:xfrm>
            <a:off x="5370286" y="6611966"/>
            <a:ext cx="6419157" cy="24603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90" name="Chart 89">
            <a:extLst>
              <a:ext uri="{FF2B5EF4-FFF2-40B4-BE49-F238E27FC236}">
                <a16:creationId xmlns:a16="http://schemas.microsoft.com/office/drawing/2014/main" id="{8DF0950B-A1EC-DFD7-408E-E456BC183603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114300" y="1689100"/>
          <a:ext cx="6738938" cy="4229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968B98B3-8474-D287-85E6-2E75E10FBE1B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6573838" y="2514600"/>
            <a:ext cx="231775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6FB53D93-2B05-59F2-8BAE-CF0EE65AB926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6573838" y="1987550"/>
            <a:ext cx="231775" cy="0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C1DC8F7A-907E-621D-99FC-14694D0832D7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6573838" y="2251075"/>
            <a:ext cx="231775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23D8786F-11EE-980D-08BA-E1DCD89A1836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6865938" y="1889125"/>
            <a:ext cx="62071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60B8A4C4-89BC-4D23-8F96-3DCA43FAC51C}" type="datetime'C''a''''na''''''''''''''''''''''''''''''''d''''a'''''''''''">
              <a:rPr lang="en-US" altLang="en-US" sz="1400" smtClean="0">
                <a:solidFill>
                  <a:schemeClr val="tx1"/>
                </a:solidFill>
              </a:rPr>
              <a:pPr/>
              <a:t>Canada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5C1C73B-EF17-9614-3C15-ED7934A20A74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6865938" y="2416175"/>
            <a:ext cx="106521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AACA4AC-849B-48DE-B35B-0A7F49204908}" type="datetime'''U''''n''''''''i''t''''e''''d'''''''' ''S''tat''''''e''''s'">
              <a:rPr lang="en-US" altLang="en-US" sz="1400" smtClean="0">
                <a:solidFill>
                  <a:schemeClr val="tx1"/>
                </a:solidFill>
              </a:rPr>
              <a:pPr/>
              <a:t>United States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DF12037-76FD-7D32-8C67-BE9CA026CEA3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6865938" y="2152650"/>
            <a:ext cx="5619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7A727044-69D6-4E57-855E-0280B797F22C}" type="datetime'''''M''''''''''e''''x''i''''''''''''''''''''''c''''''o'">
              <a:rPr lang="en-US" altLang="en-US" sz="1400" smtClean="0">
                <a:solidFill>
                  <a:schemeClr val="tx1"/>
                </a:solidFill>
              </a:rPr>
              <a:pPr/>
              <a:t>Mexico</a:t>
            </a:fld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23418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4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&quot;&gt;&lt;elem m_fUsage=&quot;1.00000000000000000000E+00&quot;&gt;&lt;m_msothmcolidx val=&quot;0&quot;/&gt;&lt;m_rgb r=&quot;44&quot; g=&quot;44&quot; b=&quot;44&quot;/&gt;&lt;/elem&gt;&lt;elem m_fUsage=&quot;9.00000000000000022204E-01&quot;&gt;&lt;m_msothmcolidx val=&quot;0&quot;/&gt;&lt;m_rgb r=&quot;F2&quot; g=&quot;F2&quot; b=&quot;F2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xdnqyV5zmdcZbS_6SZ5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y1Lyz8.HjvLRtJNSpY9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Eg5eGFcAs8n56UKQ_M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PYxnPyJR_CXBGlSTvQq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o9Xl33snU124mXcGHo4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VWhhqJNs8lV7.1_bnLn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xsiGfZ1ZmDBNvutKNHZ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A1cKSuIiv94yLqOuOp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68">
      <a:dk1>
        <a:sysClr val="windowText" lastClr="000000"/>
      </a:dk1>
      <a:lt1>
        <a:sysClr val="window" lastClr="FFFFFF"/>
      </a:lt1>
      <a:dk2>
        <a:srgbClr val="444444"/>
      </a:dk2>
      <a:lt2>
        <a:srgbClr val="E7E6E6"/>
      </a:lt2>
      <a:accent1>
        <a:srgbClr val="6EA600"/>
      </a:accent1>
      <a:accent2>
        <a:srgbClr val="4C7300"/>
      </a:accent2>
      <a:accent3>
        <a:srgbClr val="0070B0"/>
      </a:accent3>
      <a:accent4>
        <a:srgbClr val="00507D"/>
      </a:accent4>
      <a:accent5>
        <a:srgbClr val="C0C0C0"/>
      </a:accent5>
      <a:accent6>
        <a:srgbClr val="777777"/>
      </a:accent6>
      <a:hlink>
        <a:srgbClr val="0563C1"/>
      </a:hlink>
      <a:folHlink>
        <a:srgbClr val="954F72"/>
      </a:folHlink>
    </a:clrScheme>
    <a:fontScheme name="Custom 10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206-0689_Template 3.1" id="{E9B783AE-D7FA-6F4B-BB4C-E51206C2798B}" vid="{EAB91737-99EC-FE4A-80FA-6693E945266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EBA9472DB148543B0E75A42F733C0AD" ma:contentTypeVersion="16" ma:contentTypeDescription="Create a new document." ma:contentTypeScope="" ma:versionID="f0afe2dceac4d4796a1b99087b90a988">
  <xsd:schema xmlns:xsd="http://www.w3.org/2001/XMLSchema" xmlns:xs="http://www.w3.org/2001/XMLSchema" xmlns:p="http://schemas.microsoft.com/office/2006/metadata/properties" xmlns:ns2="e7b3f6d3-b914-4d54-8a9d-d3749b572a0d" xmlns:ns3="ac43b080-9074-42cf-86e9-370509c7664b" targetNamespace="http://schemas.microsoft.com/office/2006/metadata/properties" ma:root="true" ma:fieldsID="e4db793772c74071e4c6099f9587e461" ns2:_="" ns3:_="">
    <xsd:import namespace="e7b3f6d3-b914-4d54-8a9d-d3749b572a0d"/>
    <xsd:import namespace="ac43b080-9074-42cf-86e9-370509c7664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2:MediaServiceDateTaken" minOccurs="0"/>
                <xsd:element ref="ns2:MediaLengthInSeconds" minOccurs="0"/>
                <xsd:element ref="ns2:MediaServiceObjectDetectorVersion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7b3f6d3-b914-4d54-8a9d-d3749b572a0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43b080-9074-42cf-86e9-370509c7664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2" nillable="true" ma:displayName="Taxonomy Catch All Column" ma:hidden="true" ma:list="{2640fb9a-e19f-4527-a020-699c2eef9882}" ma:internalName="TaxCatchAll" ma:showField="CatchAllData" ma:web="ac43b080-9074-42cf-86e9-370509c7664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c43b080-9074-42cf-86e9-370509c7664b" xsi:nil="true"/>
    <lcf76f155ced4ddcb4097134ff3c332f xmlns="e7b3f6d3-b914-4d54-8a9d-d3749b572a0d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2BA92C3C-02E6-409F-9667-052A82014ADC}"/>
</file>

<file path=customXml/itemProps2.xml><?xml version="1.0" encoding="utf-8"?>
<ds:datastoreItem xmlns:ds="http://schemas.openxmlformats.org/officeDocument/2006/customXml" ds:itemID="{4F5FB131-A390-42E1-B31D-2FEDED8C2E4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C13C834-2860-4B15-A271-418955A0928D}">
  <ds:schemaRefs>
    <ds:schemaRef ds:uri="http://schemas.microsoft.com/office/2006/metadata/properties"/>
    <ds:schemaRef ds:uri="http://schemas.microsoft.com/office/2006/documentManagement/types"/>
    <ds:schemaRef ds:uri="4bd4d397-a849-4111-8caa-2cd1909bb285"/>
    <ds:schemaRef ds:uri="http://www.w3.org/XML/1998/namespace"/>
    <ds:schemaRef ds:uri="http://purl.org/dc/terms/"/>
    <ds:schemaRef ds:uri="http://purl.org/dc/dcmitype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40b3a238-e851-4bda-be3d-1ed623dfc157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3717</TotalTime>
  <Words>123</Words>
  <Application>Microsoft Macintosh PowerPoint</Application>
  <PresentationFormat>Widescreen</PresentationFormat>
  <Paragraphs>15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Wingdings</vt:lpstr>
      <vt:lpstr>Office Theme</vt:lpstr>
      <vt:lpstr>think-cell Slide</vt:lpstr>
      <vt:lpstr>Canada leads North America in terms of its use of renewable energy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think-cell Inc.</dc:creator>
  <cp:keywords/>
  <dc:description/>
  <cp:lastModifiedBy>kristen sosulski</cp:lastModifiedBy>
  <cp:revision>128</cp:revision>
  <cp:lastPrinted>2023-03-12T18:44:03Z</cp:lastPrinted>
  <dcterms:created xsi:type="dcterms:W3CDTF">2022-06-27T06:47:27Z</dcterms:created>
  <dcterms:modified xsi:type="dcterms:W3CDTF">2023-05-20T19:57:58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F6CAD090FCB6C41B211BDAFA3947C73</vt:lpwstr>
  </property>
  <property fmtid="{D5CDD505-2E9C-101B-9397-08002B2CF9AE}" pid="3" name="MediaServiceImageTags">
    <vt:lpwstr/>
  </property>
  <property fmtid="{D5CDD505-2E9C-101B-9397-08002B2CF9AE}" pid="4" name="Version">
    <vt:lpwstr>1.02</vt:lpwstr>
  </property>
</Properties>
</file>